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7" r:id="rId2"/>
    <p:sldMasterId id="2147483666" r:id="rId3"/>
    <p:sldMasterId id="2147483674" r:id="rId4"/>
    <p:sldMasterId id="2147483682" r:id="rId5"/>
    <p:sldMasterId id="2147483691" r:id="rId6"/>
  </p:sldMasterIdLst>
  <p:notesMasterIdLst>
    <p:notesMasterId r:id="rId39"/>
  </p:notesMasterIdLst>
  <p:sldIdLst>
    <p:sldId id="256" r:id="rId7"/>
    <p:sldId id="2147473881" r:id="rId8"/>
    <p:sldId id="2147473855" r:id="rId9"/>
    <p:sldId id="2147473857" r:id="rId10"/>
    <p:sldId id="2147473858" r:id="rId11"/>
    <p:sldId id="2147473846" r:id="rId12"/>
    <p:sldId id="2147473844" r:id="rId13"/>
    <p:sldId id="2147473856" r:id="rId14"/>
    <p:sldId id="2147473859" r:id="rId15"/>
    <p:sldId id="2147473860" r:id="rId16"/>
    <p:sldId id="2147473861" r:id="rId17"/>
    <p:sldId id="2147473862" r:id="rId18"/>
    <p:sldId id="2147473863" r:id="rId19"/>
    <p:sldId id="2147473865" r:id="rId20"/>
    <p:sldId id="2147473872" r:id="rId21"/>
    <p:sldId id="2147473868" r:id="rId22"/>
    <p:sldId id="2147473854" r:id="rId23"/>
    <p:sldId id="2147473869" r:id="rId24"/>
    <p:sldId id="2147473870" r:id="rId25"/>
    <p:sldId id="2147473851" r:id="rId26"/>
    <p:sldId id="2147473852" r:id="rId27"/>
    <p:sldId id="2147473853" r:id="rId28"/>
    <p:sldId id="2147473866" r:id="rId29"/>
    <p:sldId id="2147473874" r:id="rId30"/>
    <p:sldId id="2147473873" r:id="rId31"/>
    <p:sldId id="2147473875" r:id="rId32"/>
    <p:sldId id="2147473876" r:id="rId33"/>
    <p:sldId id="2147473878" r:id="rId34"/>
    <p:sldId id="278" r:id="rId35"/>
    <p:sldId id="2147473880" r:id="rId36"/>
    <p:sldId id="2147473877" r:id="rId37"/>
    <p:sldId id="266" r:id="rId38"/>
  </p:sldIdLst>
  <p:sldSz cx="12192000" cy="6858000"/>
  <p:notesSz cx="6797675" cy="9926638"/>
  <p:defaultTextStyle>
    <a:defPPr>
      <a:defRPr lang="fr-FR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UVERTURE" id="{855E90A8-0759-4978-B9C0-D88A669BB1D0}">
          <p14:sldIdLst>
            <p14:sldId id="256"/>
            <p14:sldId id="2147473881"/>
            <p14:sldId id="2147473855"/>
            <p14:sldId id="2147473857"/>
            <p14:sldId id="2147473858"/>
            <p14:sldId id="2147473846"/>
            <p14:sldId id="2147473844"/>
            <p14:sldId id="2147473856"/>
            <p14:sldId id="2147473859"/>
            <p14:sldId id="2147473860"/>
            <p14:sldId id="2147473861"/>
            <p14:sldId id="2147473862"/>
            <p14:sldId id="2147473863"/>
            <p14:sldId id="2147473865"/>
            <p14:sldId id="2147473872"/>
            <p14:sldId id="2147473868"/>
            <p14:sldId id="2147473854"/>
            <p14:sldId id="2147473869"/>
            <p14:sldId id="2147473870"/>
            <p14:sldId id="2147473851"/>
            <p14:sldId id="2147473852"/>
            <p14:sldId id="2147473853"/>
            <p14:sldId id="2147473866"/>
            <p14:sldId id="2147473874"/>
            <p14:sldId id="2147473873"/>
            <p14:sldId id="2147473875"/>
            <p14:sldId id="2147473876"/>
            <p14:sldId id="2147473878"/>
            <p14:sldId id="278"/>
            <p14:sldId id="2147473880"/>
            <p14:sldId id="2147473877"/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phie BARON" initials="SB" lastIdx="2" clrIdx="0">
    <p:extLst>
      <p:ext uri="{19B8F6BF-5375-455C-9EA6-DF929625EA0E}">
        <p15:presenceInfo xmlns:p15="http://schemas.microsoft.com/office/powerpoint/2012/main" userId="S::sophie.baron@atih.sante.fr::ccf1428b-c7f5-4a61-9e1b-e56230fff8b8" providerId="AD"/>
      </p:ext>
    </p:extLst>
  </p:cmAuthor>
  <p:cmAuthor id="2" name="Joëlle DUBOIS" initials="JD" lastIdx="2" clrIdx="1">
    <p:extLst>
      <p:ext uri="{19B8F6BF-5375-455C-9EA6-DF929625EA0E}">
        <p15:presenceInfo xmlns:p15="http://schemas.microsoft.com/office/powerpoint/2012/main" userId="S::joelle.dubois@atih.sante.fr::fd8977b7-724e-4b84-beb4-006eb584a48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3BB2"/>
    <a:srgbClr val="25AA6C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5072" autoAdjust="0"/>
  </p:normalViewPr>
  <p:slideViewPr>
    <p:cSldViewPr snapToObjects="1" showGuides="1">
      <p:cViewPr varScale="1">
        <p:scale>
          <a:sx n="106" d="100"/>
          <a:sy n="106" d="100"/>
        </p:scale>
        <p:origin x="732" y="10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4" d="100"/>
          <a:sy n="54" d="100"/>
        </p:scale>
        <p:origin x="1862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2425901-240D-46D0-9194-F28AC249297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5BB371E-C447-4408-BAFA-D9CA6EBE499D}">
      <dgm:prSet phldrT="[Texte]"/>
      <dgm:spPr>
        <a:solidFill>
          <a:schemeClr val="bg1"/>
        </a:solidFill>
      </dgm:spPr>
      <dgm:t>
        <a:bodyPr/>
        <a:lstStyle/>
        <a:p>
          <a:r>
            <a:rPr lang="fr-FR" dirty="0"/>
            <a:t>Consultation des rapports</a:t>
          </a:r>
        </a:p>
      </dgm:t>
    </dgm:pt>
    <dgm:pt modelId="{09D8ABA1-6D9C-48AE-9F20-E6E772DCE89B}" type="parTrans" cxnId="{E9AC8898-33FC-4E45-95AF-1E5BD472E798}">
      <dgm:prSet/>
      <dgm:spPr/>
      <dgm:t>
        <a:bodyPr/>
        <a:lstStyle/>
        <a:p>
          <a:endParaRPr lang="fr-FR"/>
        </a:p>
      </dgm:t>
    </dgm:pt>
    <dgm:pt modelId="{51237893-F4B5-4339-AEDF-C124418EBF1A}" type="sibTrans" cxnId="{E9AC8898-33FC-4E45-95AF-1E5BD472E798}">
      <dgm:prSet/>
      <dgm:spPr/>
      <dgm:t>
        <a:bodyPr/>
        <a:lstStyle/>
        <a:p>
          <a:endParaRPr lang="fr-FR"/>
        </a:p>
      </dgm:t>
    </dgm:pt>
    <dgm:pt modelId="{FE6F918B-4C7C-489A-A60B-65B1AE40D714}">
      <dgm:prSet phldrT="[Texte]"/>
      <dgm:spPr>
        <a:solidFill>
          <a:schemeClr val="bg1"/>
        </a:solidFill>
      </dgm:spPr>
      <dgm:t>
        <a:bodyPr/>
        <a:lstStyle/>
        <a:p>
          <a:r>
            <a:rPr lang="fr-FR" dirty="0"/>
            <a:t>Transmission des données à e-PMSI</a:t>
          </a:r>
        </a:p>
      </dgm:t>
    </dgm:pt>
    <dgm:pt modelId="{B13FBBD3-2CD3-4A36-B037-7C642B968FC8}" type="parTrans" cxnId="{6FAA56F9-0BEB-4819-81B9-B5C6C8BC4E00}">
      <dgm:prSet/>
      <dgm:spPr/>
      <dgm:t>
        <a:bodyPr/>
        <a:lstStyle/>
        <a:p>
          <a:endParaRPr lang="fr-FR"/>
        </a:p>
      </dgm:t>
    </dgm:pt>
    <dgm:pt modelId="{572A87FC-0896-4631-851E-E8F328926474}" type="sibTrans" cxnId="{6FAA56F9-0BEB-4819-81B9-B5C6C8BC4E00}">
      <dgm:prSet/>
      <dgm:spPr/>
      <dgm:t>
        <a:bodyPr/>
        <a:lstStyle/>
        <a:p>
          <a:endParaRPr lang="fr-FR"/>
        </a:p>
      </dgm:t>
    </dgm:pt>
    <dgm:pt modelId="{F5BC483F-129C-4B67-BCB6-873B4FFBB441}">
      <dgm:prSet phldrT="[Texte]"/>
      <dgm:spPr>
        <a:solidFill>
          <a:schemeClr val="bg1"/>
        </a:solidFill>
      </dgm:spPr>
      <dgm:t>
        <a:bodyPr/>
        <a:lstStyle/>
        <a:p>
          <a:r>
            <a:rPr lang="fr-FR" dirty="0"/>
            <a:t>Récupération des données e-PMSI</a:t>
          </a:r>
        </a:p>
      </dgm:t>
    </dgm:pt>
    <dgm:pt modelId="{B483B984-7B13-4F8F-A9F2-9BCC14D37C52}" type="parTrans" cxnId="{B4750551-07D9-4A85-B66B-A0FFD2CF2436}">
      <dgm:prSet/>
      <dgm:spPr/>
      <dgm:t>
        <a:bodyPr/>
        <a:lstStyle/>
        <a:p>
          <a:endParaRPr lang="fr-FR"/>
        </a:p>
      </dgm:t>
    </dgm:pt>
    <dgm:pt modelId="{1B924E13-E415-4476-9A6C-6B2804056972}" type="sibTrans" cxnId="{B4750551-07D9-4A85-B66B-A0FFD2CF2436}">
      <dgm:prSet/>
      <dgm:spPr/>
      <dgm:t>
        <a:bodyPr/>
        <a:lstStyle/>
        <a:p>
          <a:endParaRPr lang="fr-FR"/>
        </a:p>
      </dgm:t>
    </dgm:pt>
    <dgm:pt modelId="{66CFE687-BA2B-4EA6-AC4F-9FE66DE2B617}">
      <dgm:prSet phldrT="[Texte]"/>
      <dgm:spPr/>
      <dgm:t>
        <a:bodyPr/>
        <a:lstStyle/>
        <a:p>
          <a:r>
            <a:rPr lang="fr-FR" dirty="0"/>
            <a:t>Sélection des fichiers</a:t>
          </a:r>
        </a:p>
      </dgm:t>
    </dgm:pt>
    <dgm:pt modelId="{783CFB13-40CD-4062-BB0D-31A9B2DD6877}" type="parTrans" cxnId="{D4BE31F8-AA0B-4066-AC2E-1CFBED7B158F}">
      <dgm:prSet/>
      <dgm:spPr/>
      <dgm:t>
        <a:bodyPr/>
        <a:lstStyle/>
        <a:p>
          <a:endParaRPr lang="fr-FR"/>
        </a:p>
      </dgm:t>
    </dgm:pt>
    <dgm:pt modelId="{0C2EA0F6-75D1-43F3-A647-C0082AC0F1DE}" type="sibTrans" cxnId="{D4BE31F8-AA0B-4066-AC2E-1CFBED7B158F}">
      <dgm:prSet/>
      <dgm:spPr/>
      <dgm:t>
        <a:bodyPr/>
        <a:lstStyle/>
        <a:p>
          <a:endParaRPr lang="fr-FR"/>
        </a:p>
      </dgm:t>
    </dgm:pt>
    <dgm:pt modelId="{35DF218F-B080-44E5-BD3F-20DA55D1DA90}">
      <dgm:prSet phldrT="[Texte]"/>
      <dgm:spPr>
        <a:solidFill>
          <a:schemeClr val="bg1"/>
        </a:solidFill>
      </dgm:spPr>
      <dgm:t>
        <a:bodyPr/>
        <a:lstStyle/>
        <a:p>
          <a:r>
            <a:rPr lang="fr-FR" dirty="0"/>
            <a:t>Contrôle des données</a:t>
          </a:r>
        </a:p>
      </dgm:t>
    </dgm:pt>
    <dgm:pt modelId="{B0F6C8D0-B556-45E8-BE96-299C654FAE5F}" type="sibTrans" cxnId="{BC80575E-55AB-44A7-B103-F26E076F715B}">
      <dgm:prSet/>
      <dgm:spPr/>
      <dgm:t>
        <a:bodyPr/>
        <a:lstStyle/>
        <a:p>
          <a:endParaRPr lang="fr-FR"/>
        </a:p>
      </dgm:t>
    </dgm:pt>
    <dgm:pt modelId="{03060E9F-7794-4A69-B828-89321A2D8ED1}" type="parTrans" cxnId="{BC80575E-55AB-44A7-B103-F26E076F715B}">
      <dgm:prSet/>
      <dgm:spPr/>
      <dgm:t>
        <a:bodyPr/>
        <a:lstStyle/>
        <a:p>
          <a:endParaRPr lang="fr-FR"/>
        </a:p>
      </dgm:t>
    </dgm:pt>
    <dgm:pt modelId="{4C83F9A2-26CD-40CD-8E14-957D43CE30C9}" type="pres">
      <dgm:prSet presAssocID="{22425901-240D-46D0-9194-F28AC2492972}" presName="Name0" presStyleCnt="0">
        <dgm:presLayoutVars>
          <dgm:dir/>
          <dgm:animLvl val="lvl"/>
          <dgm:resizeHandles val="exact"/>
        </dgm:presLayoutVars>
      </dgm:prSet>
      <dgm:spPr/>
    </dgm:pt>
    <dgm:pt modelId="{07166D87-BA03-4E86-AD0E-3DABD4A914EE}" type="pres">
      <dgm:prSet presAssocID="{66CFE687-BA2B-4EA6-AC4F-9FE66DE2B617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25545618-DE47-4BD8-9C48-655513997B11}" type="pres">
      <dgm:prSet presAssocID="{0C2EA0F6-75D1-43F3-A647-C0082AC0F1DE}" presName="parTxOnlySpace" presStyleCnt="0"/>
      <dgm:spPr/>
    </dgm:pt>
    <dgm:pt modelId="{ED7CA95E-F153-4D43-8D30-320B48F01477}" type="pres">
      <dgm:prSet presAssocID="{35DF218F-B080-44E5-BD3F-20DA55D1DA90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097519C2-602E-42B0-B219-7A0B4366BD91}" type="pres">
      <dgm:prSet presAssocID="{B0F6C8D0-B556-45E8-BE96-299C654FAE5F}" presName="parTxOnlySpace" presStyleCnt="0"/>
      <dgm:spPr/>
    </dgm:pt>
    <dgm:pt modelId="{A8E185E6-2ED9-4DCC-9AF6-CA2EEDC8FB57}" type="pres">
      <dgm:prSet presAssocID="{B5BB371E-C447-4408-BAFA-D9CA6EBE499D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1F766B01-5AC2-40AA-8CC5-EB5B590CFF01}" type="pres">
      <dgm:prSet presAssocID="{51237893-F4B5-4339-AEDF-C124418EBF1A}" presName="parTxOnlySpace" presStyleCnt="0"/>
      <dgm:spPr/>
    </dgm:pt>
    <dgm:pt modelId="{F41490CF-1761-4C2B-83D9-ADDE4E431182}" type="pres">
      <dgm:prSet presAssocID="{FE6F918B-4C7C-489A-A60B-65B1AE40D71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101A2172-7165-4BFB-8FDD-C8C9C7351F22}" type="pres">
      <dgm:prSet presAssocID="{572A87FC-0896-4631-851E-E8F328926474}" presName="parTxOnlySpace" presStyleCnt="0"/>
      <dgm:spPr/>
    </dgm:pt>
    <dgm:pt modelId="{551FBF38-9201-420B-995F-6BC619DF3E74}" type="pres">
      <dgm:prSet presAssocID="{F5BC483F-129C-4B67-BCB6-873B4FFBB441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FE99E615-8B31-4732-85DA-970C48EFE891}" type="presOf" srcId="{22425901-240D-46D0-9194-F28AC2492972}" destId="{4C83F9A2-26CD-40CD-8E14-957D43CE30C9}" srcOrd="0" destOrd="0" presId="urn:microsoft.com/office/officeart/2005/8/layout/chevron1"/>
    <dgm:cxn modelId="{5605D82E-C6C6-461E-AB71-E124FF5CCC04}" type="presOf" srcId="{35DF218F-B080-44E5-BD3F-20DA55D1DA90}" destId="{ED7CA95E-F153-4D43-8D30-320B48F01477}" srcOrd="0" destOrd="0" presId="urn:microsoft.com/office/officeart/2005/8/layout/chevron1"/>
    <dgm:cxn modelId="{483D3F31-0D4A-4D8A-99EF-CD679CA8F9B8}" type="presOf" srcId="{F5BC483F-129C-4B67-BCB6-873B4FFBB441}" destId="{551FBF38-9201-420B-995F-6BC619DF3E74}" srcOrd="0" destOrd="0" presId="urn:microsoft.com/office/officeart/2005/8/layout/chevron1"/>
    <dgm:cxn modelId="{C395AE40-7D1A-4990-B902-28A8A67C8690}" type="presOf" srcId="{B5BB371E-C447-4408-BAFA-D9CA6EBE499D}" destId="{A8E185E6-2ED9-4DCC-9AF6-CA2EEDC8FB57}" srcOrd="0" destOrd="0" presId="urn:microsoft.com/office/officeart/2005/8/layout/chevron1"/>
    <dgm:cxn modelId="{BC80575E-55AB-44A7-B103-F26E076F715B}" srcId="{22425901-240D-46D0-9194-F28AC2492972}" destId="{35DF218F-B080-44E5-BD3F-20DA55D1DA90}" srcOrd="1" destOrd="0" parTransId="{03060E9F-7794-4A69-B828-89321A2D8ED1}" sibTransId="{B0F6C8D0-B556-45E8-BE96-299C654FAE5F}"/>
    <dgm:cxn modelId="{B4750551-07D9-4A85-B66B-A0FFD2CF2436}" srcId="{22425901-240D-46D0-9194-F28AC2492972}" destId="{F5BC483F-129C-4B67-BCB6-873B4FFBB441}" srcOrd="4" destOrd="0" parTransId="{B483B984-7B13-4F8F-A9F2-9BCC14D37C52}" sibTransId="{1B924E13-E415-4476-9A6C-6B2804056972}"/>
    <dgm:cxn modelId="{E9AC8898-33FC-4E45-95AF-1E5BD472E798}" srcId="{22425901-240D-46D0-9194-F28AC2492972}" destId="{B5BB371E-C447-4408-BAFA-D9CA6EBE499D}" srcOrd="2" destOrd="0" parTransId="{09D8ABA1-6D9C-48AE-9F20-E6E772DCE89B}" sibTransId="{51237893-F4B5-4339-AEDF-C124418EBF1A}"/>
    <dgm:cxn modelId="{B1599FB6-FE5D-44B1-96EF-02A0483A566B}" type="presOf" srcId="{FE6F918B-4C7C-489A-A60B-65B1AE40D714}" destId="{F41490CF-1761-4C2B-83D9-ADDE4E431182}" srcOrd="0" destOrd="0" presId="urn:microsoft.com/office/officeart/2005/8/layout/chevron1"/>
    <dgm:cxn modelId="{06E330F4-3D0E-49F9-82D9-B01AEBF2321C}" type="presOf" srcId="{66CFE687-BA2B-4EA6-AC4F-9FE66DE2B617}" destId="{07166D87-BA03-4E86-AD0E-3DABD4A914EE}" srcOrd="0" destOrd="0" presId="urn:microsoft.com/office/officeart/2005/8/layout/chevron1"/>
    <dgm:cxn modelId="{D4BE31F8-AA0B-4066-AC2E-1CFBED7B158F}" srcId="{22425901-240D-46D0-9194-F28AC2492972}" destId="{66CFE687-BA2B-4EA6-AC4F-9FE66DE2B617}" srcOrd="0" destOrd="0" parTransId="{783CFB13-40CD-4062-BB0D-31A9B2DD6877}" sibTransId="{0C2EA0F6-75D1-43F3-A647-C0082AC0F1DE}"/>
    <dgm:cxn modelId="{6FAA56F9-0BEB-4819-81B9-B5C6C8BC4E00}" srcId="{22425901-240D-46D0-9194-F28AC2492972}" destId="{FE6F918B-4C7C-489A-A60B-65B1AE40D714}" srcOrd="3" destOrd="0" parTransId="{B13FBBD3-2CD3-4A36-B037-7C642B968FC8}" sibTransId="{572A87FC-0896-4631-851E-E8F328926474}"/>
    <dgm:cxn modelId="{DF48F825-04C2-4DDF-86F9-AA56F80CA45D}" type="presParOf" srcId="{4C83F9A2-26CD-40CD-8E14-957D43CE30C9}" destId="{07166D87-BA03-4E86-AD0E-3DABD4A914EE}" srcOrd="0" destOrd="0" presId="urn:microsoft.com/office/officeart/2005/8/layout/chevron1"/>
    <dgm:cxn modelId="{F761F784-E0F6-43D0-824D-556C90FFCC72}" type="presParOf" srcId="{4C83F9A2-26CD-40CD-8E14-957D43CE30C9}" destId="{25545618-DE47-4BD8-9C48-655513997B11}" srcOrd="1" destOrd="0" presId="urn:microsoft.com/office/officeart/2005/8/layout/chevron1"/>
    <dgm:cxn modelId="{C2F30747-9F01-46C1-8601-02169A0AC5E4}" type="presParOf" srcId="{4C83F9A2-26CD-40CD-8E14-957D43CE30C9}" destId="{ED7CA95E-F153-4D43-8D30-320B48F01477}" srcOrd="2" destOrd="0" presId="urn:microsoft.com/office/officeart/2005/8/layout/chevron1"/>
    <dgm:cxn modelId="{86B9F0C7-C87B-4932-B200-9217D0AF328D}" type="presParOf" srcId="{4C83F9A2-26CD-40CD-8E14-957D43CE30C9}" destId="{097519C2-602E-42B0-B219-7A0B4366BD91}" srcOrd="3" destOrd="0" presId="urn:microsoft.com/office/officeart/2005/8/layout/chevron1"/>
    <dgm:cxn modelId="{A26DE134-0EDE-49EF-A282-68F853B1B7EC}" type="presParOf" srcId="{4C83F9A2-26CD-40CD-8E14-957D43CE30C9}" destId="{A8E185E6-2ED9-4DCC-9AF6-CA2EEDC8FB57}" srcOrd="4" destOrd="0" presId="urn:microsoft.com/office/officeart/2005/8/layout/chevron1"/>
    <dgm:cxn modelId="{56BA2FE4-6525-47BD-BF8B-61DF92F11D5F}" type="presParOf" srcId="{4C83F9A2-26CD-40CD-8E14-957D43CE30C9}" destId="{1F766B01-5AC2-40AA-8CC5-EB5B590CFF01}" srcOrd="5" destOrd="0" presId="urn:microsoft.com/office/officeart/2005/8/layout/chevron1"/>
    <dgm:cxn modelId="{2466738F-ACE0-49F9-BC7D-B312B26149FA}" type="presParOf" srcId="{4C83F9A2-26CD-40CD-8E14-957D43CE30C9}" destId="{F41490CF-1761-4C2B-83D9-ADDE4E431182}" srcOrd="6" destOrd="0" presId="urn:microsoft.com/office/officeart/2005/8/layout/chevron1"/>
    <dgm:cxn modelId="{8C7A06B4-FBA1-4476-840E-364D40B0AB1F}" type="presParOf" srcId="{4C83F9A2-26CD-40CD-8E14-957D43CE30C9}" destId="{101A2172-7165-4BFB-8FDD-C8C9C7351F22}" srcOrd="7" destOrd="0" presId="urn:microsoft.com/office/officeart/2005/8/layout/chevron1"/>
    <dgm:cxn modelId="{BE8B29BE-B906-4661-AFFB-907BFB87B3AD}" type="presParOf" srcId="{4C83F9A2-26CD-40CD-8E14-957D43CE30C9}" destId="{551FBF38-9201-420B-995F-6BC619DF3E74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2425901-240D-46D0-9194-F28AC249297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5BB371E-C447-4408-BAFA-D9CA6EBE499D}">
      <dgm:prSet phldrT="[Texte]"/>
      <dgm:spPr>
        <a:solidFill>
          <a:schemeClr val="bg1"/>
        </a:solidFill>
      </dgm:spPr>
      <dgm:t>
        <a:bodyPr/>
        <a:lstStyle/>
        <a:p>
          <a:r>
            <a:rPr lang="fr-FR" dirty="0"/>
            <a:t>Consultation des rapports</a:t>
          </a:r>
        </a:p>
      </dgm:t>
    </dgm:pt>
    <dgm:pt modelId="{09D8ABA1-6D9C-48AE-9F20-E6E772DCE89B}" type="parTrans" cxnId="{E9AC8898-33FC-4E45-95AF-1E5BD472E798}">
      <dgm:prSet/>
      <dgm:spPr/>
      <dgm:t>
        <a:bodyPr/>
        <a:lstStyle/>
        <a:p>
          <a:endParaRPr lang="fr-FR"/>
        </a:p>
      </dgm:t>
    </dgm:pt>
    <dgm:pt modelId="{51237893-F4B5-4339-AEDF-C124418EBF1A}" type="sibTrans" cxnId="{E9AC8898-33FC-4E45-95AF-1E5BD472E798}">
      <dgm:prSet/>
      <dgm:spPr/>
      <dgm:t>
        <a:bodyPr/>
        <a:lstStyle/>
        <a:p>
          <a:endParaRPr lang="fr-FR"/>
        </a:p>
      </dgm:t>
    </dgm:pt>
    <dgm:pt modelId="{FE6F918B-4C7C-489A-A60B-65B1AE40D714}">
      <dgm:prSet phldrT="[Texte]"/>
      <dgm:spPr>
        <a:solidFill>
          <a:schemeClr val="bg1"/>
        </a:solidFill>
      </dgm:spPr>
      <dgm:t>
        <a:bodyPr/>
        <a:lstStyle/>
        <a:p>
          <a:r>
            <a:rPr lang="fr-FR" dirty="0"/>
            <a:t>Transmission des données à e-PMSI</a:t>
          </a:r>
        </a:p>
      </dgm:t>
    </dgm:pt>
    <dgm:pt modelId="{B13FBBD3-2CD3-4A36-B037-7C642B968FC8}" type="parTrans" cxnId="{6FAA56F9-0BEB-4819-81B9-B5C6C8BC4E00}">
      <dgm:prSet/>
      <dgm:spPr/>
      <dgm:t>
        <a:bodyPr/>
        <a:lstStyle/>
        <a:p>
          <a:endParaRPr lang="fr-FR"/>
        </a:p>
      </dgm:t>
    </dgm:pt>
    <dgm:pt modelId="{572A87FC-0896-4631-851E-E8F328926474}" type="sibTrans" cxnId="{6FAA56F9-0BEB-4819-81B9-B5C6C8BC4E00}">
      <dgm:prSet/>
      <dgm:spPr/>
      <dgm:t>
        <a:bodyPr/>
        <a:lstStyle/>
        <a:p>
          <a:endParaRPr lang="fr-FR"/>
        </a:p>
      </dgm:t>
    </dgm:pt>
    <dgm:pt modelId="{F5BC483F-129C-4B67-BCB6-873B4FFBB441}">
      <dgm:prSet phldrT="[Texte]"/>
      <dgm:spPr>
        <a:solidFill>
          <a:schemeClr val="bg1"/>
        </a:solidFill>
      </dgm:spPr>
      <dgm:t>
        <a:bodyPr/>
        <a:lstStyle/>
        <a:p>
          <a:r>
            <a:rPr lang="fr-FR" dirty="0"/>
            <a:t>Récupération des données e-PMSI</a:t>
          </a:r>
        </a:p>
      </dgm:t>
    </dgm:pt>
    <dgm:pt modelId="{B483B984-7B13-4F8F-A9F2-9BCC14D37C52}" type="parTrans" cxnId="{B4750551-07D9-4A85-B66B-A0FFD2CF2436}">
      <dgm:prSet/>
      <dgm:spPr/>
      <dgm:t>
        <a:bodyPr/>
        <a:lstStyle/>
        <a:p>
          <a:endParaRPr lang="fr-FR"/>
        </a:p>
      </dgm:t>
    </dgm:pt>
    <dgm:pt modelId="{1B924E13-E415-4476-9A6C-6B2804056972}" type="sibTrans" cxnId="{B4750551-07D9-4A85-B66B-A0FFD2CF2436}">
      <dgm:prSet/>
      <dgm:spPr/>
      <dgm:t>
        <a:bodyPr/>
        <a:lstStyle/>
        <a:p>
          <a:endParaRPr lang="fr-FR"/>
        </a:p>
      </dgm:t>
    </dgm:pt>
    <dgm:pt modelId="{66CFE687-BA2B-4EA6-AC4F-9FE66DE2B617}">
      <dgm:prSet phldrT="[Texte]"/>
      <dgm:spPr/>
      <dgm:t>
        <a:bodyPr/>
        <a:lstStyle/>
        <a:p>
          <a:r>
            <a:rPr lang="fr-FR" dirty="0"/>
            <a:t>Sélection des fichiers</a:t>
          </a:r>
        </a:p>
      </dgm:t>
    </dgm:pt>
    <dgm:pt modelId="{783CFB13-40CD-4062-BB0D-31A9B2DD6877}" type="parTrans" cxnId="{D4BE31F8-AA0B-4066-AC2E-1CFBED7B158F}">
      <dgm:prSet/>
      <dgm:spPr/>
      <dgm:t>
        <a:bodyPr/>
        <a:lstStyle/>
        <a:p>
          <a:endParaRPr lang="fr-FR"/>
        </a:p>
      </dgm:t>
    </dgm:pt>
    <dgm:pt modelId="{0C2EA0F6-75D1-43F3-A647-C0082AC0F1DE}" type="sibTrans" cxnId="{D4BE31F8-AA0B-4066-AC2E-1CFBED7B158F}">
      <dgm:prSet/>
      <dgm:spPr/>
      <dgm:t>
        <a:bodyPr/>
        <a:lstStyle/>
        <a:p>
          <a:endParaRPr lang="fr-FR"/>
        </a:p>
      </dgm:t>
    </dgm:pt>
    <dgm:pt modelId="{35DF218F-B080-44E5-BD3F-20DA55D1DA90}">
      <dgm:prSet phldrT="[Texte]"/>
      <dgm:spPr>
        <a:solidFill>
          <a:schemeClr val="accent1"/>
        </a:solidFill>
      </dgm:spPr>
      <dgm:t>
        <a:bodyPr/>
        <a:lstStyle/>
        <a:p>
          <a:r>
            <a:rPr lang="fr-FR" dirty="0"/>
            <a:t>Contrôle des données</a:t>
          </a:r>
        </a:p>
      </dgm:t>
    </dgm:pt>
    <dgm:pt modelId="{B0F6C8D0-B556-45E8-BE96-299C654FAE5F}" type="sibTrans" cxnId="{BC80575E-55AB-44A7-B103-F26E076F715B}">
      <dgm:prSet/>
      <dgm:spPr/>
      <dgm:t>
        <a:bodyPr/>
        <a:lstStyle/>
        <a:p>
          <a:endParaRPr lang="fr-FR"/>
        </a:p>
      </dgm:t>
    </dgm:pt>
    <dgm:pt modelId="{03060E9F-7794-4A69-B828-89321A2D8ED1}" type="parTrans" cxnId="{BC80575E-55AB-44A7-B103-F26E076F715B}">
      <dgm:prSet/>
      <dgm:spPr/>
      <dgm:t>
        <a:bodyPr/>
        <a:lstStyle/>
        <a:p>
          <a:endParaRPr lang="fr-FR"/>
        </a:p>
      </dgm:t>
    </dgm:pt>
    <dgm:pt modelId="{4C83F9A2-26CD-40CD-8E14-957D43CE30C9}" type="pres">
      <dgm:prSet presAssocID="{22425901-240D-46D0-9194-F28AC2492972}" presName="Name0" presStyleCnt="0">
        <dgm:presLayoutVars>
          <dgm:dir/>
          <dgm:animLvl val="lvl"/>
          <dgm:resizeHandles val="exact"/>
        </dgm:presLayoutVars>
      </dgm:prSet>
      <dgm:spPr/>
    </dgm:pt>
    <dgm:pt modelId="{07166D87-BA03-4E86-AD0E-3DABD4A914EE}" type="pres">
      <dgm:prSet presAssocID="{66CFE687-BA2B-4EA6-AC4F-9FE66DE2B617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25545618-DE47-4BD8-9C48-655513997B11}" type="pres">
      <dgm:prSet presAssocID="{0C2EA0F6-75D1-43F3-A647-C0082AC0F1DE}" presName="parTxOnlySpace" presStyleCnt="0"/>
      <dgm:spPr/>
    </dgm:pt>
    <dgm:pt modelId="{ED7CA95E-F153-4D43-8D30-320B48F01477}" type="pres">
      <dgm:prSet presAssocID="{35DF218F-B080-44E5-BD3F-20DA55D1DA90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097519C2-602E-42B0-B219-7A0B4366BD91}" type="pres">
      <dgm:prSet presAssocID="{B0F6C8D0-B556-45E8-BE96-299C654FAE5F}" presName="parTxOnlySpace" presStyleCnt="0"/>
      <dgm:spPr/>
    </dgm:pt>
    <dgm:pt modelId="{A8E185E6-2ED9-4DCC-9AF6-CA2EEDC8FB57}" type="pres">
      <dgm:prSet presAssocID="{B5BB371E-C447-4408-BAFA-D9CA6EBE499D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1F766B01-5AC2-40AA-8CC5-EB5B590CFF01}" type="pres">
      <dgm:prSet presAssocID="{51237893-F4B5-4339-AEDF-C124418EBF1A}" presName="parTxOnlySpace" presStyleCnt="0"/>
      <dgm:spPr/>
    </dgm:pt>
    <dgm:pt modelId="{F41490CF-1761-4C2B-83D9-ADDE4E431182}" type="pres">
      <dgm:prSet presAssocID="{FE6F918B-4C7C-489A-A60B-65B1AE40D71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101A2172-7165-4BFB-8FDD-C8C9C7351F22}" type="pres">
      <dgm:prSet presAssocID="{572A87FC-0896-4631-851E-E8F328926474}" presName="parTxOnlySpace" presStyleCnt="0"/>
      <dgm:spPr/>
    </dgm:pt>
    <dgm:pt modelId="{551FBF38-9201-420B-995F-6BC619DF3E74}" type="pres">
      <dgm:prSet presAssocID="{F5BC483F-129C-4B67-BCB6-873B4FFBB441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FE99E615-8B31-4732-85DA-970C48EFE891}" type="presOf" srcId="{22425901-240D-46D0-9194-F28AC2492972}" destId="{4C83F9A2-26CD-40CD-8E14-957D43CE30C9}" srcOrd="0" destOrd="0" presId="urn:microsoft.com/office/officeart/2005/8/layout/chevron1"/>
    <dgm:cxn modelId="{5605D82E-C6C6-461E-AB71-E124FF5CCC04}" type="presOf" srcId="{35DF218F-B080-44E5-BD3F-20DA55D1DA90}" destId="{ED7CA95E-F153-4D43-8D30-320B48F01477}" srcOrd="0" destOrd="0" presId="urn:microsoft.com/office/officeart/2005/8/layout/chevron1"/>
    <dgm:cxn modelId="{483D3F31-0D4A-4D8A-99EF-CD679CA8F9B8}" type="presOf" srcId="{F5BC483F-129C-4B67-BCB6-873B4FFBB441}" destId="{551FBF38-9201-420B-995F-6BC619DF3E74}" srcOrd="0" destOrd="0" presId="urn:microsoft.com/office/officeart/2005/8/layout/chevron1"/>
    <dgm:cxn modelId="{C395AE40-7D1A-4990-B902-28A8A67C8690}" type="presOf" srcId="{B5BB371E-C447-4408-BAFA-D9CA6EBE499D}" destId="{A8E185E6-2ED9-4DCC-9AF6-CA2EEDC8FB57}" srcOrd="0" destOrd="0" presId="urn:microsoft.com/office/officeart/2005/8/layout/chevron1"/>
    <dgm:cxn modelId="{BC80575E-55AB-44A7-B103-F26E076F715B}" srcId="{22425901-240D-46D0-9194-F28AC2492972}" destId="{35DF218F-B080-44E5-BD3F-20DA55D1DA90}" srcOrd="1" destOrd="0" parTransId="{03060E9F-7794-4A69-B828-89321A2D8ED1}" sibTransId="{B0F6C8D0-B556-45E8-BE96-299C654FAE5F}"/>
    <dgm:cxn modelId="{B4750551-07D9-4A85-B66B-A0FFD2CF2436}" srcId="{22425901-240D-46D0-9194-F28AC2492972}" destId="{F5BC483F-129C-4B67-BCB6-873B4FFBB441}" srcOrd="4" destOrd="0" parTransId="{B483B984-7B13-4F8F-A9F2-9BCC14D37C52}" sibTransId="{1B924E13-E415-4476-9A6C-6B2804056972}"/>
    <dgm:cxn modelId="{E9AC8898-33FC-4E45-95AF-1E5BD472E798}" srcId="{22425901-240D-46D0-9194-F28AC2492972}" destId="{B5BB371E-C447-4408-BAFA-D9CA6EBE499D}" srcOrd="2" destOrd="0" parTransId="{09D8ABA1-6D9C-48AE-9F20-E6E772DCE89B}" sibTransId="{51237893-F4B5-4339-AEDF-C124418EBF1A}"/>
    <dgm:cxn modelId="{B1599FB6-FE5D-44B1-96EF-02A0483A566B}" type="presOf" srcId="{FE6F918B-4C7C-489A-A60B-65B1AE40D714}" destId="{F41490CF-1761-4C2B-83D9-ADDE4E431182}" srcOrd="0" destOrd="0" presId="urn:microsoft.com/office/officeart/2005/8/layout/chevron1"/>
    <dgm:cxn modelId="{06E330F4-3D0E-49F9-82D9-B01AEBF2321C}" type="presOf" srcId="{66CFE687-BA2B-4EA6-AC4F-9FE66DE2B617}" destId="{07166D87-BA03-4E86-AD0E-3DABD4A914EE}" srcOrd="0" destOrd="0" presId="urn:microsoft.com/office/officeart/2005/8/layout/chevron1"/>
    <dgm:cxn modelId="{D4BE31F8-AA0B-4066-AC2E-1CFBED7B158F}" srcId="{22425901-240D-46D0-9194-F28AC2492972}" destId="{66CFE687-BA2B-4EA6-AC4F-9FE66DE2B617}" srcOrd="0" destOrd="0" parTransId="{783CFB13-40CD-4062-BB0D-31A9B2DD6877}" sibTransId="{0C2EA0F6-75D1-43F3-A647-C0082AC0F1DE}"/>
    <dgm:cxn modelId="{6FAA56F9-0BEB-4819-81B9-B5C6C8BC4E00}" srcId="{22425901-240D-46D0-9194-F28AC2492972}" destId="{FE6F918B-4C7C-489A-A60B-65B1AE40D714}" srcOrd="3" destOrd="0" parTransId="{B13FBBD3-2CD3-4A36-B037-7C642B968FC8}" sibTransId="{572A87FC-0896-4631-851E-E8F328926474}"/>
    <dgm:cxn modelId="{DF48F825-04C2-4DDF-86F9-AA56F80CA45D}" type="presParOf" srcId="{4C83F9A2-26CD-40CD-8E14-957D43CE30C9}" destId="{07166D87-BA03-4E86-AD0E-3DABD4A914EE}" srcOrd="0" destOrd="0" presId="urn:microsoft.com/office/officeart/2005/8/layout/chevron1"/>
    <dgm:cxn modelId="{F761F784-E0F6-43D0-824D-556C90FFCC72}" type="presParOf" srcId="{4C83F9A2-26CD-40CD-8E14-957D43CE30C9}" destId="{25545618-DE47-4BD8-9C48-655513997B11}" srcOrd="1" destOrd="0" presId="urn:microsoft.com/office/officeart/2005/8/layout/chevron1"/>
    <dgm:cxn modelId="{C2F30747-9F01-46C1-8601-02169A0AC5E4}" type="presParOf" srcId="{4C83F9A2-26CD-40CD-8E14-957D43CE30C9}" destId="{ED7CA95E-F153-4D43-8D30-320B48F01477}" srcOrd="2" destOrd="0" presId="urn:microsoft.com/office/officeart/2005/8/layout/chevron1"/>
    <dgm:cxn modelId="{86B9F0C7-C87B-4932-B200-9217D0AF328D}" type="presParOf" srcId="{4C83F9A2-26CD-40CD-8E14-957D43CE30C9}" destId="{097519C2-602E-42B0-B219-7A0B4366BD91}" srcOrd="3" destOrd="0" presId="urn:microsoft.com/office/officeart/2005/8/layout/chevron1"/>
    <dgm:cxn modelId="{A26DE134-0EDE-49EF-A282-68F853B1B7EC}" type="presParOf" srcId="{4C83F9A2-26CD-40CD-8E14-957D43CE30C9}" destId="{A8E185E6-2ED9-4DCC-9AF6-CA2EEDC8FB57}" srcOrd="4" destOrd="0" presId="urn:microsoft.com/office/officeart/2005/8/layout/chevron1"/>
    <dgm:cxn modelId="{56BA2FE4-6525-47BD-BF8B-61DF92F11D5F}" type="presParOf" srcId="{4C83F9A2-26CD-40CD-8E14-957D43CE30C9}" destId="{1F766B01-5AC2-40AA-8CC5-EB5B590CFF01}" srcOrd="5" destOrd="0" presId="urn:microsoft.com/office/officeart/2005/8/layout/chevron1"/>
    <dgm:cxn modelId="{2466738F-ACE0-49F9-BC7D-B312B26149FA}" type="presParOf" srcId="{4C83F9A2-26CD-40CD-8E14-957D43CE30C9}" destId="{F41490CF-1761-4C2B-83D9-ADDE4E431182}" srcOrd="6" destOrd="0" presId="urn:microsoft.com/office/officeart/2005/8/layout/chevron1"/>
    <dgm:cxn modelId="{8C7A06B4-FBA1-4476-840E-364D40B0AB1F}" type="presParOf" srcId="{4C83F9A2-26CD-40CD-8E14-957D43CE30C9}" destId="{101A2172-7165-4BFB-8FDD-C8C9C7351F22}" srcOrd="7" destOrd="0" presId="urn:microsoft.com/office/officeart/2005/8/layout/chevron1"/>
    <dgm:cxn modelId="{BE8B29BE-B906-4661-AFFB-907BFB87B3AD}" type="presParOf" srcId="{4C83F9A2-26CD-40CD-8E14-957D43CE30C9}" destId="{551FBF38-9201-420B-995F-6BC619DF3E74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425901-240D-46D0-9194-F28AC249297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5BB371E-C447-4408-BAFA-D9CA6EBE499D}">
      <dgm:prSet phldrT="[Texte]"/>
      <dgm:spPr>
        <a:solidFill>
          <a:schemeClr val="accent1"/>
        </a:solidFill>
      </dgm:spPr>
      <dgm:t>
        <a:bodyPr/>
        <a:lstStyle/>
        <a:p>
          <a:r>
            <a:rPr lang="fr-FR" dirty="0"/>
            <a:t>Consultation des rapports</a:t>
          </a:r>
        </a:p>
      </dgm:t>
    </dgm:pt>
    <dgm:pt modelId="{09D8ABA1-6D9C-48AE-9F20-E6E772DCE89B}" type="parTrans" cxnId="{E9AC8898-33FC-4E45-95AF-1E5BD472E798}">
      <dgm:prSet/>
      <dgm:spPr/>
      <dgm:t>
        <a:bodyPr/>
        <a:lstStyle/>
        <a:p>
          <a:endParaRPr lang="fr-FR"/>
        </a:p>
      </dgm:t>
    </dgm:pt>
    <dgm:pt modelId="{51237893-F4B5-4339-AEDF-C124418EBF1A}" type="sibTrans" cxnId="{E9AC8898-33FC-4E45-95AF-1E5BD472E798}">
      <dgm:prSet/>
      <dgm:spPr/>
      <dgm:t>
        <a:bodyPr/>
        <a:lstStyle/>
        <a:p>
          <a:endParaRPr lang="fr-FR"/>
        </a:p>
      </dgm:t>
    </dgm:pt>
    <dgm:pt modelId="{FE6F918B-4C7C-489A-A60B-65B1AE40D714}">
      <dgm:prSet phldrT="[Texte]"/>
      <dgm:spPr>
        <a:solidFill>
          <a:schemeClr val="bg1"/>
        </a:solidFill>
      </dgm:spPr>
      <dgm:t>
        <a:bodyPr/>
        <a:lstStyle/>
        <a:p>
          <a:r>
            <a:rPr lang="fr-FR" dirty="0"/>
            <a:t>Transmission des données à e-PMSI</a:t>
          </a:r>
        </a:p>
      </dgm:t>
    </dgm:pt>
    <dgm:pt modelId="{B13FBBD3-2CD3-4A36-B037-7C642B968FC8}" type="parTrans" cxnId="{6FAA56F9-0BEB-4819-81B9-B5C6C8BC4E00}">
      <dgm:prSet/>
      <dgm:spPr/>
      <dgm:t>
        <a:bodyPr/>
        <a:lstStyle/>
        <a:p>
          <a:endParaRPr lang="fr-FR"/>
        </a:p>
      </dgm:t>
    </dgm:pt>
    <dgm:pt modelId="{572A87FC-0896-4631-851E-E8F328926474}" type="sibTrans" cxnId="{6FAA56F9-0BEB-4819-81B9-B5C6C8BC4E00}">
      <dgm:prSet/>
      <dgm:spPr/>
      <dgm:t>
        <a:bodyPr/>
        <a:lstStyle/>
        <a:p>
          <a:endParaRPr lang="fr-FR"/>
        </a:p>
      </dgm:t>
    </dgm:pt>
    <dgm:pt modelId="{F5BC483F-129C-4B67-BCB6-873B4FFBB441}">
      <dgm:prSet phldrT="[Texte]"/>
      <dgm:spPr>
        <a:solidFill>
          <a:schemeClr val="bg1"/>
        </a:solidFill>
      </dgm:spPr>
      <dgm:t>
        <a:bodyPr/>
        <a:lstStyle/>
        <a:p>
          <a:r>
            <a:rPr lang="fr-FR" dirty="0"/>
            <a:t>Récupération des données e-PMSI</a:t>
          </a:r>
        </a:p>
      </dgm:t>
    </dgm:pt>
    <dgm:pt modelId="{B483B984-7B13-4F8F-A9F2-9BCC14D37C52}" type="parTrans" cxnId="{B4750551-07D9-4A85-B66B-A0FFD2CF2436}">
      <dgm:prSet/>
      <dgm:spPr/>
      <dgm:t>
        <a:bodyPr/>
        <a:lstStyle/>
        <a:p>
          <a:endParaRPr lang="fr-FR"/>
        </a:p>
      </dgm:t>
    </dgm:pt>
    <dgm:pt modelId="{1B924E13-E415-4476-9A6C-6B2804056972}" type="sibTrans" cxnId="{B4750551-07D9-4A85-B66B-A0FFD2CF2436}">
      <dgm:prSet/>
      <dgm:spPr/>
      <dgm:t>
        <a:bodyPr/>
        <a:lstStyle/>
        <a:p>
          <a:endParaRPr lang="fr-FR"/>
        </a:p>
      </dgm:t>
    </dgm:pt>
    <dgm:pt modelId="{66CFE687-BA2B-4EA6-AC4F-9FE66DE2B617}">
      <dgm:prSet phldrT="[Texte]"/>
      <dgm:spPr/>
      <dgm:t>
        <a:bodyPr/>
        <a:lstStyle/>
        <a:p>
          <a:r>
            <a:rPr lang="fr-FR" dirty="0"/>
            <a:t>Sélection des fichiers</a:t>
          </a:r>
        </a:p>
      </dgm:t>
    </dgm:pt>
    <dgm:pt modelId="{783CFB13-40CD-4062-BB0D-31A9B2DD6877}" type="parTrans" cxnId="{D4BE31F8-AA0B-4066-AC2E-1CFBED7B158F}">
      <dgm:prSet/>
      <dgm:spPr/>
      <dgm:t>
        <a:bodyPr/>
        <a:lstStyle/>
        <a:p>
          <a:endParaRPr lang="fr-FR"/>
        </a:p>
      </dgm:t>
    </dgm:pt>
    <dgm:pt modelId="{0C2EA0F6-75D1-43F3-A647-C0082AC0F1DE}" type="sibTrans" cxnId="{D4BE31F8-AA0B-4066-AC2E-1CFBED7B158F}">
      <dgm:prSet/>
      <dgm:spPr/>
      <dgm:t>
        <a:bodyPr/>
        <a:lstStyle/>
        <a:p>
          <a:endParaRPr lang="fr-FR"/>
        </a:p>
      </dgm:t>
    </dgm:pt>
    <dgm:pt modelId="{35DF218F-B080-44E5-BD3F-20DA55D1DA90}">
      <dgm:prSet phldrT="[Texte]"/>
      <dgm:spPr>
        <a:solidFill>
          <a:schemeClr val="accent1"/>
        </a:solidFill>
      </dgm:spPr>
      <dgm:t>
        <a:bodyPr/>
        <a:lstStyle/>
        <a:p>
          <a:r>
            <a:rPr lang="fr-FR" dirty="0"/>
            <a:t>Contrôle des données</a:t>
          </a:r>
        </a:p>
      </dgm:t>
    </dgm:pt>
    <dgm:pt modelId="{B0F6C8D0-B556-45E8-BE96-299C654FAE5F}" type="sibTrans" cxnId="{BC80575E-55AB-44A7-B103-F26E076F715B}">
      <dgm:prSet/>
      <dgm:spPr/>
      <dgm:t>
        <a:bodyPr/>
        <a:lstStyle/>
        <a:p>
          <a:endParaRPr lang="fr-FR"/>
        </a:p>
      </dgm:t>
    </dgm:pt>
    <dgm:pt modelId="{03060E9F-7794-4A69-B828-89321A2D8ED1}" type="parTrans" cxnId="{BC80575E-55AB-44A7-B103-F26E076F715B}">
      <dgm:prSet/>
      <dgm:spPr/>
      <dgm:t>
        <a:bodyPr/>
        <a:lstStyle/>
        <a:p>
          <a:endParaRPr lang="fr-FR"/>
        </a:p>
      </dgm:t>
    </dgm:pt>
    <dgm:pt modelId="{4C83F9A2-26CD-40CD-8E14-957D43CE30C9}" type="pres">
      <dgm:prSet presAssocID="{22425901-240D-46D0-9194-F28AC2492972}" presName="Name0" presStyleCnt="0">
        <dgm:presLayoutVars>
          <dgm:dir/>
          <dgm:animLvl val="lvl"/>
          <dgm:resizeHandles val="exact"/>
        </dgm:presLayoutVars>
      </dgm:prSet>
      <dgm:spPr/>
    </dgm:pt>
    <dgm:pt modelId="{07166D87-BA03-4E86-AD0E-3DABD4A914EE}" type="pres">
      <dgm:prSet presAssocID="{66CFE687-BA2B-4EA6-AC4F-9FE66DE2B617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25545618-DE47-4BD8-9C48-655513997B11}" type="pres">
      <dgm:prSet presAssocID="{0C2EA0F6-75D1-43F3-A647-C0082AC0F1DE}" presName="parTxOnlySpace" presStyleCnt="0"/>
      <dgm:spPr/>
    </dgm:pt>
    <dgm:pt modelId="{ED7CA95E-F153-4D43-8D30-320B48F01477}" type="pres">
      <dgm:prSet presAssocID="{35DF218F-B080-44E5-BD3F-20DA55D1DA90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097519C2-602E-42B0-B219-7A0B4366BD91}" type="pres">
      <dgm:prSet presAssocID="{B0F6C8D0-B556-45E8-BE96-299C654FAE5F}" presName="parTxOnlySpace" presStyleCnt="0"/>
      <dgm:spPr/>
    </dgm:pt>
    <dgm:pt modelId="{A8E185E6-2ED9-4DCC-9AF6-CA2EEDC8FB57}" type="pres">
      <dgm:prSet presAssocID="{B5BB371E-C447-4408-BAFA-D9CA6EBE499D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1F766B01-5AC2-40AA-8CC5-EB5B590CFF01}" type="pres">
      <dgm:prSet presAssocID="{51237893-F4B5-4339-AEDF-C124418EBF1A}" presName="parTxOnlySpace" presStyleCnt="0"/>
      <dgm:spPr/>
    </dgm:pt>
    <dgm:pt modelId="{F41490CF-1761-4C2B-83D9-ADDE4E431182}" type="pres">
      <dgm:prSet presAssocID="{FE6F918B-4C7C-489A-A60B-65B1AE40D71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101A2172-7165-4BFB-8FDD-C8C9C7351F22}" type="pres">
      <dgm:prSet presAssocID="{572A87FC-0896-4631-851E-E8F328926474}" presName="parTxOnlySpace" presStyleCnt="0"/>
      <dgm:spPr/>
    </dgm:pt>
    <dgm:pt modelId="{551FBF38-9201-420B-995F-6BC619DF3E74}" type="pres">
      <dgm:prSet presAssocID="{F5BC483F-129C-4B67-BCB6-873B4FFBB441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FE99E615-8B31-4732-85DA-970C48EFE891}" type="presOf" srcId="{22425901-240D-46D0-9194-F28AC2492972}" destId="{4C83F9A2-26CD-40CD-8E14-957D43CE30C9}" srcOrd="0" destOrd="0" presId="urn:microsoft.com/office/officeart/2005/8/layout/chevron1"/>
    <dgm:cxn modelId="{5605D82E-C6C6-461E-AB71-E124FF5CCC04}" type="presOf" srcId="{35DF218F-B080-44E5-BD3F-20DA55D1DA90}" destId="{ED7CA95E-F153-4D43-8D30-320B48F01477}" srcOrd="0" destOrd="0" presId="urn:microsoft.com/office/officeart/2005/8/layout/chevron1"/>
    <dgm:cxn modelId="{483D3F31-0D4A-4D8A-99EF-CD679CA8F9B8}" type="presOf" srcId="{F5BC483F-129C-4B67-BCB6-873B4FFBB441}" destId="{551FBF38-9201-420B-995F-6BC619DF3E74}" srcOrd="0" destOrd="0" presId="urn:microsoft.com/office/officeart/2005/8/layout/chevron1"/>
    <dgm:cxn modelId="{C395AE40-7D1A-4990-B902-28A8A67C8690}" type="presOf" srcId="{B5BB371E-C447-4408-BAFA-D9CA6EBE499D}" destId="{A8E185E6-2ED9-4DCC-9AF6-CA2EEDC8FB57}" srcOrd="0" destOrd="0" presId="urn:microsoft.com/office/officeart/2005/8/layout/chevron1"/>
    <dgm:cxn modelId="{BC80575E-55AB-44A7-B103-F26E076F715B}" srcId="{22425901-240D-46D0-9194-F28AC2492972}" destId="{35DF218F-B080-44E5-BD3F-20DA55D1DA90}" srcOrd="1" destOrd="0" parTransId="{03060E9F-7794-4A69-B828-89321A2D8ED1}" sibTransId="{B0F6C8D0-B556-45E8-BE96-299C654FAE5F}"/>
    <dgm:cxn modelId="{B4750551-07D9-4A85-B66B-A0FFD2CF2436}" srcId="{22425901-240D-46D0-9194-F28AC2492972}" destId="{F5BC483F-129C-4B67-BCB6-873B4FFBB441}" srcOrd="4" destOrd="0" parTransId="{B483B984-7B13-4F8F-A9F2-9BCC14D37C52}" sibTransId="{1B924E13-E415-4476-9A6C-6B2804056972}"/>
    <dgm:cxn modelId="{E9AC8898-33FC-4E45-95AF-1E5BD472E798}" srcId="{22425901-240D-46D0-9194-F28AC2492972}" destId="{B5BB371E-C447-4408-BAFA-D9CA6EBE499D}" srcOrd="2" destOrd="0" parTransId="{09D8ABA1-6D9C-48AE-9F20-E6E772DCE89B}" sibTransId="{51237893-F4B5-4339-AEDF-C124418EBF1A}"/>
    <dgm:cxn modelId="{B1599FB6-FE5D-44B1-96EF-02A0483A566B}" type="presOf" srcId="{FE6F918B-4C7C-489A-A60B-65B1AE40D714}" destId="{F41490CF-1761-4C2B-83D9-ADDE4E431182}" srcOrd="0" destOrd="0" presId="urn:microsoft.com/office/officeart/2005/8/layout/chevron1"/>
    <dgm:cxn modelId="{06E330F4-3D0E-49F9-82D9-B01AEBF2321C}" type="presOf" srcId="{66CFE687-BA2B-4EA6-AC4F-9FE66DE2B617}" destId="{07166D87-BA03-4E86-AD0E-3DABD4A914EE}" srcOrd="0" destOrd="0" presId="urn:microsoft.com/office/officeart/2005/8/layout/chevron1"/>
    <dgm:cxn modelId="{D4BE31F8-AA0B-4066-AC2E-1CFBED7B158F}" srcId="{22425901-240D-46D0-9194-F28AC2492972}" destId="{66CFE687-BA2B-4EA6-AC4F-9FE66DE2B617}" srcOrd="0" destOrd="0" parTransId="{783CFB13-40CD-4062-BB0D-31A9B2DD6877}" sibTransId="{0C2EA0F6-75D1-43F3-A647-C0082AC0F1DE}"/>
    <dgm:cxn modelId="{6FAA56F9-0BEB-4819-81B9-B5C6C8BC4E00}" srcId="{22425901-240D-46D0-9194-F28AC2492972}" destId="{FE6F918B-4C7C-489A-A60B-65B1AE40D714}" srcOrd="3" destOrd="0" parTransId="{B13FBBD3-2CD3-4A36-B037-7C642B968FC8}" sibTransId="{572A87FC-0896-4631-851E-E8F328926474}"/>
    <dgm:cxn modelId="{DF48F825-04C2-4DDF-86F9-AA56F80CA45D}" type="presParOf" srcId="{4C83F9A2-26CD-40CD-8E14-957D43CE30C9}" destId="{07166D87-BA03-4E86-AD0E-3DABD4A914EE}" srcOrd="0" destOrd="0" presId="urn:microsoft.com/office/officeart/2005/8/layout/chevron1"/>
    <dgm:cxn modelId="{F761F784-E0F6-43D0-824D-556C90FFCC72}" type="presParOf" srcId="{4C83F9A2-26CD-40CD-8E14-957D43CE30C9}" destId="{25545618-DE47-4BD8-9C48-655513997B11}" srcOrd="1" destOrd="0" presId="urn:microsoft.com/office/officeart/2005/8/layout/chevron1"/>
    <dgm:cxn modelId="{C2F30747-9F01-46C1-8601-02169A0AC5E4}" type="presParOf" srcId="{4C83F9A2-26CD-40CD-8E14-957D43CE30C9}" destId="{ED7CA95E-F153-4D43-8D30-320B48F01477}" srcOrd="2" destOrd="0" presId="urn:microsoft.com/office/officeart/2005/8/layout/chevron1"/>
    <dgm:cxn modelId="{86B9F0C7-C87B-4932-B200-9217D0AF328D}" type="presParOf" srcId="{4C83F9A2-26CD-40CD-8E14-957D43CE30C9}" destId="{097519C2-602E-42B0-B219-7A0B4366BD91}" srcOrd="3" destOrd="0" presId="urn:microsoft.com/office/officeart/2005/8/layout/chevron1"/>
    <dgm:cxn modelId="{A26DE134-0EDE-49EF-A282-68F853B1B7EC}" type="presParOf" srcId="{4C83F9A2-26CD-40CD-8E14-957D43CE30C9}" destId="{A8E185E6-2ED9-4DCC-9AF6-CA2EEDC8FB57}" srcOrd="4" destOrd="0" presId="urn:microsoft.com/office/officeart/2005/8/layout/chevron1"/>
    <dgm:cxn modelId="{56BA2FE4-6525-47BD-BF8B-61DF92F11D5F}" type="presParOf" srcId="{4C83F9A2-26CD-40CD-8E14-957D43CE30C9}" destId="{1F766B01-5AC2-40AA-8CC5-EB5B590CFF01}" srcOrd="5" destOrd="0" presId="urn:microsoft.com/office/officeart/2005/8/layout/chevron1"/>
    <dgm:cxn modelId="{2466738F-ACE0-49F9-BC7D-B312B26149FA}" type="presParOf" srcId="{4C83F9A2-26CD-40CD-8E14-957D43CE30C9}" destId="{F41490CF-1761-4C2B-83D9-ADDE4E431182}" srcOrd="6" destOrd="0" presId="urn:microsoft.com/office/officeart/2005/8/layout/chevron1"/>
    <dgm:cxn modelId="{8C7A06B4-FBA1-4476-840E-364D40B0AB1F}" type="presParOf" srcId="{4C83F9A2-26CD-40CD-8E14-957D43CE30C9}" destId="{101A2172-7165-4BFB-8FDD-C8C9C7351F22}" srcOrd="7" destOrd="0" presId="urn:microsoft.com/office/officeart/2005/8/layout/chevron1"/>
    <dgm:cxn modelId="{BE8B29BE-B906-4661-AFFB-907BFB87B3AD}" type="presParOf" srcId="{4C83F9A2-26CD-40CD-8E14-957D43CE30C9}" destId="{551FBF38-9201-420B-995F-6BC619DF3E74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2425901-240D-46D0-9194-F28AC249297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5BB371E-C447-4408-BAFA-D9CA6EBE499D}">
      <dgm:prSet phldrT="[Texte]"/>
      <dgm:spPr>
        <a:solidFill>
          <a:schemeClr val="accent1"/>
        </a:solidFill>
      </dgm:spPr>
      <dgm:t>
        <a:bodyPr/>
        <a:lstStyle/>
        <a:p>
          <a:r>
            <a:rPr lang="fr-FR" dirty="0"/>
            <a:t>Consultation des rapports</a:t>
          </a:r>
        </a:p>
      </dgm:t>
    </dgm:pt>
    <dgm:pt modelId="{09D8ABA1-6D9C-48AE-9F20-E6E772DCE89B}" type="parTrans" cxnId="{E9AC8898-33FC-4E45-95AF-1E5BD472E798}">
      <dgm:prSet/>
      <dgm:spPr/>
      <dgm:t>
        <a:bodyPr/>
        <a:lstStyle/>
        <a:p>
          <a:endParaRPr lang="fr-FR"/>
        </a:p>
      </dgm:t>
    </dgm:pt>
    <dgm:pt modelId="{51237893-F4B5-4339-AEDF-C124418EBF1A}" type="sibTrans" cxnId="{E9AC8898-33FC-4E45-95AF-1E5BD472E798}">
      <dgm:prSet/>
      <dgm:spPr/>
      <dgm:t>
        <a:bodyPr/>
        <a:lstStyle/>
        <a:p>
          <a:endParaRPr lang="fr-FR"/>
        </a:p>
      </dgm:t>
    </dgm:pt>
    <dgm:pt modelId="{FE6F918B-4C7C-489A-A60B-65B1AE40D714}">
      <dgm:prSet phldrT="[Texte]"/>
      <dgm:spPr>
        <a:solidFill>
          <a:schemeClr val="accent1"/>
        </a:solidFill>
      </dgm:spPr>
      <dgm:t>
        <a:bodyPr/>
        <a:lstStyle/>
        <a:p>
          <a:r>
            <a:rPr lang="fr-FR" dirty="0"/>
            <a:t>Transmission des données à e-PMSI</a:t>
          </a:r>
        </a:p>
      </dgm:t>
    </dgm:pt>
    <dgm:pt modelId="{B13FBBD3-2CD3-4A36-B037-7C642B968FC8}" type="parTrans" cxnId="{6FAA56F9-0BEB-4819-81B9-B5C6C8BC4E00}">
      <dgm:prSet/>
      <dgm:spPr/>
      <dgm:t>
        <a:bodyPr/>
        <a:lstStyle/>
        <a:p>
          <a:endParaRPr lang="fr-FR"/>
        </a:p>
      </dgm:t>
    </dgm:pt>
    <dgm:pt modelId="{572A87FC-0896-4631-851E-E8F328926474}" type="sibTrans" cxnId="{6FAA56F9-0BEB-4819-81B9-B5C6C8BC4E00}">
      <dgm:prSet/>
      <dgm:spPr/>
      <dgm:t>
        <a:bodyPr/>
        <a:lstStyle/>
        <a:p>
          <a:endParaRPr lang="fr-FR"/>
        </a:p>
      </dgm:t>
    </dgm:pt>
    <dgm:pt modelId="{F5BC483F-129C-4B67-BCB6-873B4FFBB441}">
      <dgm:prSet phldrT="[Texte]"/>
      <dgm:spPr>
        <a:solidFill>
          <a:schemeClr val="bg1"/>
        </a:solidFill>
      </dgm:spPr>
      <dgm:t>
        <a:bodyPr/>
        <a:lstStyle/>
        <a:p>
          <a:r>
            <a:rPr lang="fr-FR" dirty="0"/>
            <a:t>Récupération des données e-PMSI</a:t>
          </a:r>
        </a:p>
      </dgm:t>
    </dgm:pt>
    <dgm:pt modelId="{B483B984-7B13-4F8F-A9F2-9BCC14D37C52}" type="parTrans" cxnId="{B4750551-07D9-4A85-B66B-A0FFD2CF2436}">
      <dgm:prSet/>
      <dgm:spPr/>
      <dgm:t>
        <a:bodyPr/>
        <a:lstStyle/>
        <a:p>
          <a:endParaRPr lang="fr-FR"/>
        </a:p>
      </dgm:t>
    </dgm:pt>
    <dgm:pt modelId="{1B924E13-E415-4476-9A6C-6B2804056972}" type="sibTrans" cxnId="{B4750551-07D9-4A85-B66B-A0FFD2CF2436}">
      <dgm:prSet/>
      <dgm:spPr/>
      <dgm:t>
        <a:bodyPr/>
        <a:lstStyle/>
        <a:p>
          <a:endParaRPr lang="fr-FR"/>
        </a:p>
      </dgm:t>
    </dgm:pt>
    <dgm:pt modelId="{66CFE687-BA2B-4EA6-AC4F-9FE66DE2B617}">
      <dgm:prSet phldrT="[Texte]"/>
      <dgm:spPr/>
      <dgm:t>
        <a:bodyPr/>
        <a:lstStyle/>
        <a:p>
          <a:r>
            <a:rPr lang="fr-FR" dirty="0"/>
            <a:t>Sélection des fichiers</a:t>
          </a:r>
        </a:p>
      </dgm:t>
    </dgm:pt>
    <dgm:pt modelId="{783CFB13-40CD-4062-BB0D-31A9B2DD6877}" type="parTrans" cxnId="{D4BE31F8-AA0B-4066-AC2E-1CFBED7B158F}">
      <dgm:prSet/>
      <dgm:spPr/>
      <dgm:t>
        <a:bodyPr/>
        <a:lstStyle/>
        <a:p>
          <a:endParaRPr lang="fr-FR"/>
        </a:p>
      </dgm:t>
    </dgm:pt>
    <dgm:pt modelId="{0C2EA0F6-75D1-43F3-A647-C0082AC0F1DE}" type="sibTrans" cxnId="{D4BE31F8-AA0B-4066-AC2E-1CFBED7B158F}">
      <dgm:prSet/>
      <dgm:spPr/>
      <dgm:t>
        <a:bodyPr/>
        <a:lstStyle/>
        <a:p>
          <a:endParaRPr lang="fr-FR"/>
        </a:p>
      </dgm:t>
    </dgm:pt>
    <dgm:pt modelId="{35DF218F-B080-44E5-BD3F-20DA55D1DA90}">
      <dgm:prSet phldrT="[Texte]"/>
      <dgm:spPr>
        <a:solidFill>
          <a:schemeClr val="accent1"/>
        </a:solidFill>
      </dgm:spPr>
      <dgm:t>
        <a:bodyPr/>
        <a:lstStyle/>
        <a:p>
          <a:r>
            <a:rPr lang="fr-FR" dirty="0"/>
            <a:t>Contrôle des données</a:t>
          </a:r>
        </a:p>
      </dgm:t>
    </dgm:pt>
    <dgm:pt modelId="{B0F6C8D0-B556-45E8-BE96-299C654FAE5F}" type="sibTrans" cxnId="{BC80575E-55AB-44A7-B103-F26E076F715B}">
      <dgm:prSet/>
      <dgm:spPr/>
      <dgm:t>
        <a:bodyPr/>
        <a:lstStyle/>
        <a:p>
          <a:endParaRPr lang="fr-FR"/>
        </a:p>
      </dgm:t>
    </dgm:pt>
    <dgm:pt modelId="{03060E9F-7794-4A69-B828-89321A2D8ED1}" type="parTrans" cxnId="{BC80575E-55AB-44A7-B103-F26E076F715B}">
      <dgm:prSet/>
      <dgm:spPr/>
      <dgm:t>
        <a:bodyPr/>
        <a:lstStyle/>
        <a:p>
          <a:endParaRPr lang="fr-FR"/>
        </a:p>
      </dgm:t>
    </dgm:pt>
    <dgm:pt modelId="{4C83F9A2-26CD-40CD-8E14-957D43CE30C9}" type="pres">
      <dgm:prSet presAssocID="{22425901-240D-46D0-9194-F28AC2492972}" presName="Name0" presStyleCnt="0">
        <dgm:presLayoutVars>
          <dgm:dir/>
          <dgm:animLvl val="lvl"/>
          <dgm:resizeHandles val="exact"/>
        </dgm:presLayoutVars>
      </dgm:prSet>
      <dgm:spPr/>
    </dgm:pt>
    <dgm:pt modelId="{07166D87-BA03-4E86-AD0E-3DABD4A914EE}" type="pres">
      <dgm:prSet presAssocID="{66CFE687-BA2B-4EA6-AC4F-9FE66DE2B617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25545618-DE47-4BD8-9C48-655513997B11}" type="pres">
      <dgm:prSet presAssocID="{0C2EA0F6-75D1-43F3-A647-C0082AC0F1DE}" presName="parTxOnlySpace" presStyleCnt="0"/>
      <dgm:spPr/>
    </dgm:pt>
    <dgm:pt modelId="{ED7CA95E-F153-4D43-8D30-320B48F01477}" type="pres">
      <dgm:prSet presAssocID="{35DF218F-B080-44E5-BD3F-20DA55D1DA90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097519C2-602E-42B0-B219-7A0B4366BD91}" type="pres">
      <dgm:prSet presAssocID="{B0F6C8D0-B556-45E8-BE96-299C654FAE5F}" presName="parTxOnlySpace" presStyleCnt="0"/>
      <dgm:spPr/>
    </dgm:pt>
    <dgm:pt modelId="{A8E185E6-2ED9-4DCC-9AF6-CA2EEDC8FB57}" type="pres">
      <dgm:prSet presAssocID="{B5BB371E-C447-4408-BAFA-D9CA6EBE499D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1F766B01-5AC2-40AA-8CC5-EB5B590CFF01}" type="pres">
      <dgm:prSet presAssocID="{51237893-F4B5-4339-AEDF-C124418EBF1A}" presName="parTxOnlySpace" presStyleCnt="0"/>
      <dgm:spPr/>
    </dgm:pt>
    <dgm:pt modelId="{F41490CF-1761-4C2B-83D9-ADDE4E431182}" type="pres">
      <dgm:prSet presAssocID="{FE6F918B-4C7C-489A-A60B-65B1AE40D71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101A2172-7165-4BFB-8FDD-C8C9C7351F22}" type="pres">
      <dgm:prSet presAssocID="{572A87FC-0896-4631-851E-E8F328926474}" presName="parTxOnlySpace" presStyleCnt="0"/>
      <dgm:spPr/>
    </dgm:pt>
    <dgm:pt modelId="{551FBF38-9201-420B-995F-6BC619DF3E74}" type="pres">
      <dgm:prSet presAssocID="{F5BC483F-129C-4B67-BCB6-873B4FFBB441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FE99E615-8B31-4732-85DA-970C48EFE891}" type="presOf" srcId="{22425901-240D-46D0-9194-F28AC2492972}" destId="{4C83F9A2-26CD-40CD-8E14-957D43CE30C9}" srcOrd="0" destOrd="0" presId="urn:microsoft.com/office/officeart/2005/8/layout/chevron1"/>
    <dgm:cxn modelId="{5605D82E-C6C6-461E-AB71-E124FF5CCC04}" type="presOf" srcId="{35DF218F-B080-44E5-BD3F-20DA55D1DA90}" destId="{ED7CA95E-F153-4D43-8D30-320B48F01477}" srcOrd="0" destOrd="0" presId="urn:microsoft.com/office/officeart/2005/8/layout/chevron1"/>
    <dgm:cxn modelId="{483D3F31-0D4A-4D8A-99EF-CD679CA8F9B8}" type="presOf" srcId="{F5BC483F-129C-4B67-BCB6-873B4FFBB441}" destId="{551FBF38-9201-420B-995F-6BC619DF3E74}" srcOrd="0" destOrd="0" presId="urn:microsoft.com/office/officeart/2005/8/layout/chevron1"/>
    <dgm:cxn modelId="{C395AE40-7D1A-4990-B902-28A8A67C8690}" type="presOf" srcId="{B5BB371E-C447-4408-BAFA-D9CA6EBE499D}" destId="{A8E185E6-2ED9-4DCC-9AF6-CA2EEDC8FB57}" srcOrd="0" destOrd="0" presId="urn:microsoft.com/office/officeart/2005/8/layout/chevron1"/>
    <dgm:cxn modelId="{BC80575E-55AB-44A7-B103-F26E076F715B}" srcId="{22425901-240D-46D0-9194-F28AC2492972}" destId="{35DF218F-B080-44E5-BD3F-20DA55D1DA90}" srcOrd="1" destOrd="0" parTransId="{03060E9F-7794-4A69-B828-89321A2D8ED1}" sibTransId="{B0F6C8D0-B556-45E8-BE96-299C654FAE5F}"/>
    <dgm:cxn modelId="{B4750551-07D9-4A85-B66B-A0FFD2CF2436}" srcId="{22425901-240D-46D0-9194-F28AC2492972}" destId="{F5BC483F-129C-4B67-BCB6-873B4FFBB441}" srcOrd="4" destOrd="0" parTransId="{B483B984-7B13-4F8F-A9F2-9BCC14D37C52}" sibTransId="{1B924E13-E415-4476-9A6C-6B2804056972}"/>
    <dgm:cxn modelId="{E9AC8898-33FC-4E45-95AF-1E5BD472E798}" srcId="{22425901-240D-46D0-9194-F28AC2492972}" destId="{B5BB371E-C447-4408-BAFA-D9CA6EBE499D}" srcOrd="2" destOrd="0" parTransId="{09D8ABA1-6D9C-48AE-9F20-E6E772DCE89B}" sibTransId="{51237893-F4B5-4339-AEDF-C124418EBF1A}"/>
    <dgm:cxn modelId="{B1599FB6-FE5D-44B1-96EF-02A0483A566B}" type="presOf" srcId="{FE6F918B-4C7C-489A-A60B-65B1AE40D714}" destId="{F41490CF-1761-4C2B-83D9-ADDE4E431182}" srcOrd="0" destOrd="0" presId="urn:microsoft.com/office/officeart/2005/8/layout/chevron1"/>
    <dgm:cxn modelId="{06E330F4-3D0E-49F9-82D9-B01AEBF2321C}" type="presOf" srcId="{66CFE687-BA2B-4EA6-AC4F-9FE66DE2B617}" destId="{07166D87-BA03-4E86-AD0E-3DABD4A914EE}" srcOrd="0" destOrd="0" presId="urn:microsoft.com/office/officeart/2005/8/layout/chevron1"/>
    <dgm:cxn modelId="{D4BE31F8-AA0B-4066-AC2E-1CFBED7B158F}" srcId="{22425901-240D-46D0-9194-F28AC2492972}" destId="{66CFE687-BA2B-4EA6-AC4F-9FE66DE2B617}" srcOrd="0" destOrd="0" parTransId="{783CFB13-40CD-4062-BB0D-31A9B2DD6877}" sibTransId="{0C2EA0F6-75D1-43F3-A647-C0082AC0F1DE}"/>
    <dgm:cxn modelId="{6FAA56F9-0BEB-4819-81B9-B5C6C8BC4E00}" srcId="{22425901-240D-46D0-9194-F28AC2492972}" destId="{FE6F918B-4C7C-489A-A60B-65B1AE40D714}" srcOrd="3" destOrd="0" parTransId="{B13FBBD3-2CD3-4A36-B037-7C642B968FC8}" sibTransId="{572A87FC-0896-4631-851E-E8F328926474}"/>
    <dgm:cxn modelId="{DF48F825-04C2-4DDF-86F9-AA56F80CA45D}" type="presParOf" srcId="{4C83F9A2-26CD-40CD-8E14-957D43CE30C9}" destId="{07166D87-BA03-4E86-AD0E-3DABD4A914EE}" srcOrd="0" destOrd="0" presId="urn:microsoft.com/office/officeart/2005/8/layout/chevron1"/>
    <dgm:cxn modelId="{F761F784-E0F6-43D0-824D-556C90FFCC72}" type="presParOf" srcId="{4C83F9A2-26CD-40CD-8E14-957D43CE30C9}" destId="{25545618-DE47-4BD8-9C48-655513997B11}" srcOrd="1" destOrd="0" presId="urn:microsoft.com/office/officeart/2005/8/layout/chevron1"/>
    <dgm:cxn modelId="{C2F30747-9F01-46C1-8601-02169A0AC5E4}" type="presParOf" srcId="{4C83F9A2-26CD-40CD-8E14-957D43CE30C9}" destId="{ED7CA95E-F153-4D43-8D30-320B48F01477}" srcOrd="2" destOrd="0" presId="urn:microsoft.com/office/officeart/2005/8/layout/chevron1"/>
    <dgm:cxn modelId="{86B9F0C7-C87B-4932-B200-9217D0AF328D}" type="presParOf" srcId="{4C83F9A2-26CD-40CD-8E14-957D43CE30C9}" destId="{097519C2-602E-42B0-B219-7A0B4366BD91}" srcOrd="3" destOrd="0" presId="urn:microsoft.com/office/officeart/2005/8/layout/chevron1"/>
    <dgm:cxn modelId="{A26DE134-0EDE-49EF-A282-68F853B1B7EC}" type="presParOf" srcId="{4C83F9A2-26CD-40CD-8E14-957D43CE30C9}" destId="{A8E185E6-2ED9-4DCC-9AF6-CA2EEDC8FB57}" srcOrd="4" destOrd="0" presId="urn:microsoft.com/office/officeart/2005/8/layout/chevron1"/>
    <dgm:cxn modelId="{56BA2FE4-6525-47BD-BF8B-61DF92F11D5F}" type="presParOf" srcId="{4C83F9A2-26CD-40CD-8E14-957D43CE30C9}" destId="{1F766B01-5AC2-40AA-8CC5-EB5B590CFF01}" srcOrd="5" destOrd="0" presId="urn:microsoft.com/office/officeart/2005/8/layout/chevron1"/>
    <dgm:cxn modelId="{2466738F-ACE0-49F9-BC7D-B312B26149FA}" type="presParOf" srcId="{4C83F9A2-26CD-40CD-8E14-957D43CE30C9}" destId="{F41490CF-1761-4C2B-83D9-ADDE4E431182}" srcOrd="6" destOrd="0" presId="urn:microsoft.com/office/officeart/2005/8/layout/chevron1"/>
    <dgm:cxn modelId="{8C7A06B4-FBA1-4476-840E-364D40B0AB1F}" type="presParOf" srcId="{4C83F9A2-26CD-40CD-8E14-957D43CE30C9}" destId="{101A2172-7165-4BFB-8FDD-C8C9C7351F22}" srcOrd="7" destOrd="0" presId="urn:microsoft.com/office/officeart/2005/8/layout/chevron1"/>
    <dgm:cxn modelId="{BE8B29BE-B906-4661-AFFB-907BFB87B3AD}" type="presParOf" srcId="{4C83F9A2-26CD-40CD-8E14-957D43CE30C9}" destId="{551FBF38-9201-420B-995F-6BC619DF3E74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66D87-BA03-4E86-AD0E-3DABD4A914EE}">
      <dsp:nvSpPr>
        <dsp:cNvPr id="0" name=""/>
        <dsp:cNvSpPr/>
      </dsp:nvSpPr>
      <dsp:spPr>
        <a:xfrm>
          <a:off x="1984" y="366860"/>
          <a:ext cx="1766093" cy="7064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Sélection des fichiers</a:t>
          </a:r>
        </a:p>
      </dsp:txBody>
      <dsp:txXfrm>
        <a:off x="355203" y="366860"/>
        <a:ext cx="1059656" cy="706437"/>
      </dsp:txXfrm>
    </dsp:sp>
    <dsp:sp modelId="{ED7CA95E-F153-4D43-8D30-320B48F01477}">
      <dsp:nvSpPr>
        <dsp:cNvPr id="0" name=""/>
        <dsp:cNvSpPr/>
      </dsp:nvSpPr>
      <dsp:spPr>
        <a:xfrm>
          <a:off x="1591468" y="366860"/>
          <a:ext cx="1766093" cy="706437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Contrôle des données</a:t>
          </a:r>
        </a:p>
      </dsp:txBody>
      <dsp:txXfrm>
        <a:off x="1944687" y="366860"/>
        <a:ext cx="1059656" cy="706437"/>
      </dsp:txXfrm>
    </dsp:sp>
    <dsp:sp modelId="{A8E185E6-2ED9-4DCC-9AF6-CA2EEDC8FB57}">
      <dsp:nvSpPr>
        <dsp:cNvPr id="0" name=""/>
        <dsp:cNvSpPr/>
      </dsp:nvSpPr>
      <dsp:spPr>
        <a:xfrm>
          <a:off x="3180953" y="366860"/>
          <a:ext cx="1766093" cy="706437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Consultation des rapports</a:t>
          </a:r>
        </a:p>
      </dsp:txBody>
      <dsp:txXfrm>
        <a:off x="3534172" y="366860"/>
        <a:ext cx="1059656" cy="706437"/>
      </dsp:txXfrm>
    </dsp:sp>
    <dsp:sp modelId="{F41490CF-1761-4C2B-83D9-ADDE4E431182}">
      <dsp:nvSpPr>
        <dsp:cNvPr id="0" name=""/>
        <dsp:cNvSpPr/>
      </dsp:nvSpPr>
      <dsp:spPr>
        <a:xfrm>
          <a:off x="4770437" y="366860"/>
          <a:ext cx="1766093" cy="706437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Transmission des données à e-PMSI</a:t>
          </a:r>
        </a:p>
      </dsp:txBody>
      <dsp:txXfrm>
        <a:off x="5123656" y="366860"/>
        <a:ext cx="1059656" cy="706437"/>
      </dsp:txXfrm>
    </dsp:sp>
    <dsp:sp modelId="{551FBF38-9201-420B-995F-6BC619DF3E74}">
      <dsp:nvSpPr>
        <dsp:cNvPr id="0" name=""/>
        <dsp:cNvSpPr/>
      </dsp:nvSpPr>
      <dsp:spPr>
        <a:xfrm>
          <a:off x="6359921" y="366860"/>
          <a:ext cx="1766093" cy="706437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Récupération des données e-PMSI</a:t>
          </a:r>
        </a:p>
      </dsp:txBody>
      <dsp:txXfrm>
        <a:off x="6713140" y="366860"/>
        <a:ext cx="1059656" cy="7064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66D87-BA03-4E86-AD0E-3DABD4A914EE}">
      <dsp:nvSpPr>
        <dsp:cNvPr id="0" name=""/>
        <dsp:cNvSpPr/>
      </dsp:nvSpPr>
      <dsp:spPr>
        <a:xfrm>
          <a:off x="1984" y="366860"/>
          <a:ext cx="1766093" cy="7064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Sélection des fichiers</a:t>
          </a:r>
        </a:p>
      </dsp:txBody>
      <dsp:txXfrm>
        <a:off x="355203" y="366860"/>
        <a:ext cx="1059656" cy="706437"/>
      </dsp:txXfrm>
    </dsp:sp>
    <dsp:sp modelId="{ED7CA95E-F153-4D43-8D30-320B48F01477}">
      <dsp:nvSpPr>
        <dsp:cNvPr id="0" name=""/>
        <dsp:cNvSpPr/>
      </dsp:nvSpPr>
      <dsp:spPr>
        <a:xfrm>
          <a:off x="1591468" y="366860"/>
          <a:ext cx="1766093" cy="706437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Contrôle des données</a:t>
          </a:r>
        </a:p>
      </dsp:txBody>
      <dsp:txXfrm>
        <a:off x="1944687" y="366860"/>
        <a:ext cx="1059656" cy="706437"/>
      </dsp:txXfrm>
    </dsp:sp>
    <dsp:sp modelId="{A8E185E6-2ED9-4DCC-9AF6-CA2EEDC8FB57}">
      <dsp:nvSpPr>
        <dsp:cNvPr id="0" name=""/>
        <dsp:cNvSpPr/>
      </dsp:nvSpPr>
      <dsp:spPr>
        <a:xfrm>
          <a:off x="3180953" y="366860"/>
          <a:ext cx="1766093" cy="706437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Consultation des rapports</a:t>
          </a:r>
        </a:p>
      </dsp:txBody>
      <dsp:txXfrm>
        <a:off x="3534172" y="366860"/>
        <a:ext cx="1059656" cy="706437"/>
      </dsp:txXfrm>
    </dsp:sp>
    <dsp:sp modelId="{F41490CF-1761-4C2B-83D9-ADDE4E431182}">
      <dsp:nvSpPr>
        <dsp:cNvPr id="0" name=""/>
        <dsp:cNvSpPr/>
      </dsp:nvSpPr>
      <dsp:spPr>
        <a:xfrm>
          <a:off x="4770437" y="366860"/>
          <a:ext cx="1766093" cy="706437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Transmission des données à e-PMSI</a:t>
          </a:r>
        </a:p>
      </dsp:txBody>
      <dsp:txXfrm>
        <a:off x="5123656" y="366860"/>
        <a:ext cx="1059656" cy="706437"/>
      </dsp:txXfrm>
    </dsp:sp>
    <dsp:sp modelId="{551FBF38-9201-420B-995F-6BC619DF3E74}">
      <dsp:nvSpPr>
        <dsp:cNvPr id="0" name=""/>
        <dsp:cNvSpPr/>
      </dsp:nvSpPr>
      <dsp:spPr>
        <a:xfrm>
          <a:off x="6359921" y="366860"/>
          <a:ext cx="1766093" cy="706437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Récupération des données e-PMSI</a:t>
          </a:r>
        </a:p>
      </dsp:txBody>
      <dsp:txXfrm>
        <a:off x="6713140" y="366860"/>
        <a:ext cx="1059656" cy="7064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66D87-BA03-4E86-AD0E-3DABD4A914EE}">
      <dsp:nvSpPr>
        <dsp:cNvPr id="0" name=""/>
        <dsp:cNvSpPr/>
      </dsp:nvSpPr>
      <dsp:spPr>
        <a:xfrm>
          <a:off x="1984" y="366860"/>
          <a:ext cx="1766093" cy="7064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Sélection des fichiers</a:t>
          </a:r>
        </a:p>
      </dsp:txBody>
      <dsp:txXfrm>
        <a:off x="355203" y="366860"/>
        <a:ext cx="1059656" cy="706437"/>
      </dsp:txXfrm>
    </dsp:sp>
    <dsp:sp modelId="{ED7CA95E-F153-4D43-8D30-320B48F01477}">
      <dsp:nvSpPr>
        <dsp:cNvPr id="0" name=""/>
        <dsp:cNvSpPr/>
      </dsp:nvSpPr>
      <dsp:spPr>
        <a:xfrm>
          <a:off x="1591468" y="366860"/>
          <a:ext cx="1766093" cy="706437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Contrôle des données</a:t>
          </a:r>
        </a:p>
      </dsp:txBody>
      <dsp:txXfrm>
        <a:off x="1944687" y="366860"/>
        <a:ext cx="1059656" cy="706437"/>
      </dsp:txXfrm>
    </dsp:sp>
    <dsp:sp modelId="{A8E185E6-2ED9-4DCC-9AF6-CA2EEDC8FB57}">
      <dsp:nvSpPr>
        <dsp:cNvPr id="0" name=""/>
        <dsp:cNvSpPr/>
      </dsp:nvSpPr>
      <dsp:spPr>
        <a:xfrm>
          <a:off x="3180953" y="366860"/>
          <a:ext cx="1766093" cy="706437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Consultation des rapports</a:t>
          </a:r>
        </a:p>
      </dsp:txBody>
      <dsp:txXfrm>
        <a:off x="3534172" y="366860"/>
        <a:ext cx="1059656" cy="706437"/>
      </dsp:txXfrm>
    </dsp:sp>
    <dsp:sp modelId="{F41490CF-1761-4C2B-83D9-ADDE4E431182}">
      <dsp:nvSpPr>
        <dsp:cNvPr id="0" name=""/>
        <dsp:cNvSpPr/>
      </dsp:nvSpPr>
      <dsp:spPr>
        <a:xfrm>
          <a:off x="4770437" y="366860"/>
          <a:ext cx="1766093" cy="706437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Transmission des données à e-PMSI</a:t>
          </a:r>
        </a:p>
      </dsp:txBody>
      <dsp:txXfrm>
        <a:off x="5123656" y="366860"/>
        <a:ext cx="1059656" cy="706437"/>
      </dsp:txXfrm>
    </dsp:sp>
    <dsp:sp modelId="{551FBF38-9201-420B-995F-6BC619DF3E74}">
      <dsp:nvSpPr>
        <dsp:cNvPr id="0" name=""/>
        <dsp:cNvSpPr/>
      </dsp:nvSpPr>
      <dsp:spPr>
        <a:xfrm>
          <a:off x="6359921" y="366860"/>
          <a:ext cx="1766093" cy="706437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Récupération des données e-PMSI</a:t>
          </a:r>
        </a:p>
      </dsp:txBody>
      <dsp:txXfrm>
        <a:off x="6713140" y="366860"/>
        <a:ext cx="1059656" cy="70643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66D87-BA03-4E86-AD0E-3DABD4A914EE}">
      <dsp:nvSpPr>
        <dsp:cNvPr id="0" name=""/>
        <dsp:cNvSpPr/>
      </dsp:nvSpPr>
      <dsp:spPr>
        <a:xfrm>
          <a:off x="1984" y="366860"/>
          <a:ext cx="1766093" cy="7064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Sélection des fichiers</a:t>
          </a:r>
        </a:p>
      </dsp:txBody>
      <dsp:txXfrm>
        <a:off x="355203" y="366860"/>
        <a:ext cx="1059656" cy="706437"/>
      </dsp:txXfrm>
    </dsp:sp>
    <dsp:sp modelId="{ED7CA95E-F153-4D43-8D30-320B48F01477}">
      <dsp:nvSpPr>
        <dsp:cNvPr id="0" name=""/>
        <dsp:cNvSpPr/>
      </dsp:nvSpPr>
      <dsp:spPr>
        <a:xfrm>
          <a:off x="1591468" y="366860"/>
          <a:ext cx="1766093" cy="706437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Contrôle des données</a:t>
          </a:r>
        </a:p>
      </dsp:txBody>
      <dsp:txXfrm>
        <a:off x="1944687" y="366860"/>
        <a:ext cx="1059656" cy="706437"/>
      </dsp:txXfrm>
    </dsp:sp>
    <dsp:sp modelId="{A8E185E6-2ED9-4DCC-9AF6-CA2EEDC8FB57}">
      <dsp:nvSpPr>
        <dsp:cNvPr id="0" name=""/>
        <dsp:cNvSpPr/>
      </dsp:nvSpPr>
      <dsp:spPr>
        <a:xfrm>
          <a:off x="3180953" y="366860"/>
          <a:ext cx="1766093" cy="706437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Consultation des rapports</a:t>
          </a:r>
        </a:p>
      </dsp:txBody>
      <dsp:txXfrm>
        <a:off x="3534172" y="366860"/>
        <a:ext cx="1059656" cy="706437"/>
      </dsp:txXfrm>
    </dsp:sp>
    <dsp:sp modelId="{F41490CF-1761-4C2B-83D9-ADDE4E431182}">
      <dsp:nvSpPr>
        <dsp:cNvPr id="0" name=""/>
        <dsp:cNvSpPr/>
      </dsp:nvSpPr>
      <dsp:spPr>
        <a:xfrm>
          <a:off x="4770437" y="366860"/>
          <a:ext cx="1766093" cy="706437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Transmission des données à e-PMSI</a:t>
          </a:r>
        </a:p>
      </dsp:txBody>
      <dsp:txXfrm>
        <a:off x="5123656" y="366860"/>
        <a:ext cx="1059656" cy="706437"/>
      </dsp:txXfrm>
    </dsp:sp>
    <dsp:sp modelId="{551FBF38-9201-420B-995F-6BC619DF3E74}">
      <dsp:nvSpPr>
        <dsp:cNvPr id="0" name=""/>
        <dsp:cNvSpPr/>
      </dsp:nvSpPr>
      <dsp:spPr>
        <a:xfrm>
          <a:off x="6359921" y="366860"/>
          <a:ext cx="1766093" cy="706437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Récupération des données e-PMSI</a:t>
          </a:r>
        </a:p>
      </dsp:txBody>
      <dsp:txXfrm>
        <a:off x="6713140" y="366860"/>
        <a:ext cx="1059656" cy="7064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990662-9999-48E4-80C1-986531C4FBBF}" type="datetimeFigureOut">
              <a:rPr lang="fr-FR" smtClean="0"/>
              <a:t>17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EE0928-D43F-4B64-896F-7E71E71556A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2836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223792" y="2141372"/>
            <a:ext cx="6444208" cy="1231107"/>
          </a:xfrm>
        </p:spPr>
        <p:txBody>
          <a:bodyPr anchor="b"/>
          <a:lstStyle>
            <a:lvl1pPr algn="l"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223792" y="3498685"/>
            <a:ext cx="6444208" cy="820737"/>
          </a:xfrm>
        </p:spPr>
        <p:txBody>
          <a:bodyPr/>
          <a:lstStyle>
            <a:lvl1pPr marL="0" indent="0" algn="l">
              <a:buNone/>
              <a:defRPr sz="2667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9" name="Espace réservé du texte 11">
            <a:extLst>
              <a:ext uri="{FF2B5EF4-FFF2-40B4-BE49-F238E27FC236}">
                <a16:creationId xmlns:a16="http://schemas.microsoft.com/office/drawing/2014/main" id="{C50F4A5E-D6A4-08B7-9A88-2358FE96B4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23792" y="5427952"/>
            <a:ext cx="1488165" cy="184665"/>
          </a:xfrm>
          <a:solidFill>
            <a:schemeClr val="tx2"/>
          </a:solidFill>
        </p:spPr>
        <p:txBody>
          <a:bodyPr wrap="square" lIns="36000" tIns="0" rIns="36000" bIns="0" anchor="ctr" anchorCtr="0"/>
          <a:lstStyle>
            <a:lvl1pPr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0" name="Espace réservé du texte 11">
            <a:extLst>
              <a:ext uri="{FF2B5EF4-FFF2-40B4-BE49-F238E27FC236}">
                <a16:creationId xmlns:a16="http://schemas.microsoft.com/office/drawing/2014/main" id="{4A1211C6-255F-9557-7F7D-E7CA6158E5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23792" y="5889226"/>
            <a:ext cx="3792421" cy="369332"/>
          </a:xfrm>
        </p:spPr>
        <p:txBody>
          <a:bodyPr/>
          <a:lstStyle>
            <a:lvl1pPr>
              <a:buFontTx/>
              <a:buNone/>
              <a:defRPr sz="1200" b="1" cap="all" baseline="0">
                <a:solidFill>
                  <a:schemeClr val="accent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24E9F904-6733-D4B1-9024-E66E9D093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48" t="17443" r="6546" b="18929"/>
          <a:stretch/>
        </p:blipFill>
        <p:spPr>
          <a:xfrm>
            <a:off x="2580148" y="380569"/>
            <a:ext cx="4272000" cy="104338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821EB37-DC3E-3699-8A9A-B748200E8C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28316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8801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10083800" cy="2215991"/>
          </a:xfrm>
        </p:spPr>
        <p:txBody>
          <a:bodyPr/>
          <a:lstStyle>
            <a:lvl1pPr>
              <a:spcBef>
                <a:spcPts val="1600"/>
              </a:spcBef>
              <a:spcAft>
                <a:spcPts val="800"/>
              </a:spcAft>
              <a:defRPr/>
            </a:lvl1pPr>
            <a:lvl2pPr>
              <a:spcBef>
                <a:spcPts val="800"/>
              </a:spcBef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Bef>
                <a:spcPts val="800"/>
              </a:spcBef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1391418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10083800" cy="1699611"/>
          </a:xfrm>
        </p:spPr>
        <p:txBody>
          <a:bodyPr numCol="2" spcCol="360000"/>
          <a:lstStyle>
            <a:lvl5pPr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19644048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2192053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71EB19E3-029A-42B2-EB1A-69099B93EAC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67925" y="1989668"/>
            <a:ext cx="4944000" cy="4078817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217262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4533D0-2D77-B5FB-FD73-BDDB403B61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BD4E62F6-575A-068A-048D-50F26E2EB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F8B06798-28E0-3747-F4F3-F76B3EE77B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6717" y="1178229"/>
            <a:ext cx="10083800" cy="36933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tableau 8">
            <a:extLst>
              <a:ext uri="{FF2B5EF4-FFF2-40B4-BE49-F238E27FC236}">
                <a16:creationId xmlns:a16="http://schemas.microsoft.com/office/drawing/2014/main" id="{1CEC6816-BABD-A364-D47E-F99EF10F05E5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246716" y="1845732"/>
            <a:ext cx="9360000" cy="3456000"/>
          </a:xfrm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402351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738664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id="{D6CAFF7C-B731-0E2A-C63F-0FCEC2AFD62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246184" y="2708484"/>
            <a:ext cx="4942416" cy="3360000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graphique 7">
            <a:extLst>
              <a:ext uri="{FF2B5EF4-FFF2-40B4-BE49-F238E27FC236}">
                <a16:creationId xmlns:a16="http://schemas.microsoft.com/office/drawing/2014/main" id="{9BB51560-29F9-AF24-8E9B-CFCED98F6EB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716384" y="1999738"/>
            <a:ext cx="4942416" cy="4068745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2112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3" name="Espace réservé du texte 11">
            <a:extLst>
              <a:ext uri="{FF2B5EF4-FFF2-40B4-BE49-F238E27FC236}">
                <a16:creationId xmlns:a16="http://schemas.microsoft.com/office/drawing/2014/main" id="{282B5076-1324-312D-B6DE-8CE1974500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28740612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24CA78E3-2E5D-CE16-BBBC-7EB01FDDCC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852" y="500675"/>
            <a:ext cx="11246296" cy="577558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27781" y="2306294"/>
            <a:ext cx="7200000" cy="512961"/>
          </a:xfrm>
        </p:spPr>
        <p:txBody>
          <a:bodyPr anchor="b"/>
          <a:lstStyle>
            <a:lvl1pPr>
              <a:defRPr sz="3333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27781" y="3122384"/>
            <a:ext cx="7200000" cy="738664"/>
          </a:xfrm>
        </p:spPr>
        <p:txBody>
          <a:bodyPr/>
          <a:lstStyle>
            <a:lvl1pPr marL="335992" indent="-335992">
              <a:spcBef>
                <a:spcPts val="667"/>
              </a:spcBef>
              <a:buFont typeface="+mj-lt"/>
              <a:buAutoNum type="arabicPeriod"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3AC3A8C-4813-CA2B-5326-02B3E4CCBE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9384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8"/>
            <a:ext cx="10083800" cy="182272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3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41264639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10083800" cy="1699611"/>
          </a:xfrm>
        </p:spPr>
        <p:txBody>
          <a:bodyPr numCol="2" spcCol="360000"/>
          <a:lstStyle>
            <a:lvl5pPr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3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26303209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2192053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3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71EB19E3-029A-42B2-EB1A-69099B93EAC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67925" y="1989668"/>
            <a:ext cx="4944000" cy="4078817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573858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24CA78E3-2E5D-CE16-BBBC-7EB01FDDCC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852" y="500675"/>
            <a:ext cx="11246296" cy="577558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27781" y="2306294"/>
            <a:ext cx="7200000" cy="512961"/>
          </a:xfrm>
        </p:spPr>
        <p:txBody>
          <a:bodyPr anchor="b"/>
          <a:lstStyle>
            <a:lvl1pPr>
              <a:defRPr sz="3333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27781" y="3122384"/>
            <a:ext cx="7200000" cy="738664"/>
          </a:xfrm>
        </p:spPr>
        <p:txBody>
          <a:bodyPr/>
          <a:lstStyle>
            <a:lvl1pPr marL="335992" indent="-335992">
              <a:spcBef>
                <a:spcPts val="667"/>
              </a:spcBef>
              <a:buFont typeface="+mj-lt"/>
              <a:buAutoNum type="arabicPeriod"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3AC3A8C-4813-CA2B-5326-02B3E4CCBE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6111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4533D0-2D77-B5FB-FD73-BDDB403B61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BD4E62F6-575A-068A-048D-50F26E2EB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3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F8B06798-28E0-3747-F4F3-F76B3EE77B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6717" y="1178229"/>
            <a:ext cx="10083800" cy="36933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tableau 8">
            <a:extLst>
              <a:ext uri="{FF2B5EF4-FFF2-40B4-BE49-F238E27FC236}">
                <a16:creationId xmlns:a16="http://schemas.microsoft.com/office/drawing/2014/main" id="{1CEC6816-BABD-A364-D47E-F99EF10F05E5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246716" y="1845732"/>
            <a:ext cx="9360000" cy="3456000"/>
          </a:xfrm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87379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738664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3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id="{D6CAFF7C-B731-0E2A-C63F-0FCEC2AFD62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246184" y="2708484"/>
            <a:ext cx="4942416" cy="3360000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graphique 7">
            <a:extLst>
              <a:ext uri="{FF2B5EF4-FFF2-40B4-BE49-F238E27FC236}">
                <a16:creationId xmlns:a16="http://schemas.microsoft.com/office/drawing/2014/main" id="{9BB51560-29F9-AF24-8E9B-CFCED98F6EB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716384" y="1999738"/>
            <a:ext cx="4942416" cy="4068745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814115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3" name="Espace réservé du texte 11">
            <a:extLst>
              <a:ext uri="{FF2B5EF4-FFF2-40B4-BE49-F238E27FC236}">
                <a16:creationId xmlns:a16="http://schemas.microsoft.com/office/drawing/2014/main" id="{282B5076-1324-312D-B6DE-8CE1974500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3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5501144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24CA78E3-2E5D-CE16-BBBC-7EB01FDDCC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852" y="500675"/>
            <a:ext cx="11246296" cy="577558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27781" y="2306294"/>
            <a:ext cx="7200000" cy="512961"/>
          </a:xfrm>
        </p:spPr>
        <p:txBody>
          <a:bodyPr anchor="b"/>
          <a:lstStyle>
            <a:lvl1pPr>
              <a:defRPr sz="3333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27781" y="3122384"/>
            <a:ext cx="7200000" cy="738664"/>
          </a:xfrm>
        </p:spPr>
        <p:txBody>
          <a:bodyPr/>
          <a:lstStyle>
            <a:lvl1pPr marL="335992" indent="-335992">
              <a:spcBef>
                <a:spcPts val="667"/>
              </a:spcBef>
              <a:buFont typeface="+mj-lt"/>
              <a:buAutoNum type="arabicPeriod"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3AC3A8C-4813-CA2B-5326-02B3E4CCBE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9190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8"/>
            <a:ext cx="10083800" cy="182272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1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40617703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10083800" cy="2770438"/>
          </a:xfrm>
        </p:spPr>
        <p:txBody>
          <a:bodyPr numCol="2" spcCol="360000"/>
          <a:lstStyle>
            <a:lvl1pPr>
              <a:defRPr sz="2667"/>
            </a:lvl1pPr>
            <a:lvl2pPr>
              <a:spcBef>
                <a:spcPts val="800"/>
              </a:spcBef>
              <a:spcAft>
                <a:spcPts val="800"/>
              </a:spcAft>
              <a:defRPr sz="1867"/>
            </a:lvl2pPr>
            <a:lvl3pPr>
              <a:spcAft>
                <a:spcPts val="800"/>
              </a:spcAft>
              <a:defRPr sz="1867"/>
            </a:lvl3pPr>
            <a:lvl4pPr>
              <a:spcBef>
                <a:spcPts val="800"/>
              </a:spcBef>
              <a:defRPr sz="1867"/>
            </a:lvl4pPr>
            <a:lvl5pPr>
              <a:defRPr sz="1867"/>
            </a:lvl5pPr>
            <a:lvl6pPr>
              <a:defRPr sz="1867"/>
            </a:lvl6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1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23132296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2192053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1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71EB19E3-029A-42B2-EB1A-69099B93EAC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67925" y="1989668"/>
            <a:ext cx="4944000" cy="4078817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541596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4533D0-2D77-B5FB-FD73-BDDB403B61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BD4E62F6-575A-068A-048D-50F26E2EB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1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F8B06798-28E0-3747-F4F3-F76B3EE77B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6717" y="1178229"/>
            <a:ext cx="10083800" cy="36933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tableau 8">
            <a:extLst>
              <a:ext uri="{FF2B5EF4-FFF2-40B4-BE49-F238E27FC236}">
                <a16:creationId xmlns:a16="http://schemas.microsoft.com/office/drawing/2014/main" id="{1CEC6816-BABD-A364-D47E-F99EF10F05E5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246716" y="1845732"/>
            <a:ext cx="9360000" cy="3456000"/>
          </a:xfrm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83069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738664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1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id="{D6CAFF7C-B731-0E2A-C63F-0FCEC2AFD62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246184" y="2708484"/>
            <a:ext cx="4942416" cy="3360000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graphique 7">
            <a:extLst>
              <a:ext uri="{FF2B5EF4-FFF2-40B4-BE49-F238E27FC236}">
                <a16:creationId xmlns:a16="http://schemas.microsoft.com/office/drawing/2014/main" id="{9BB51560-29F9-AF24-8E9B-CFCED98F6EB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716384" y="1999738"/>
            <a:ext cx="4942416" cy="4068745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47279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3" name="Espace réservé du texte 11">
            <a:extLst>
              <a:ext uri="{FF2B5EF4-FFF2-40B4-BE49-F238E27FC236}">
                <a16:creationId xmlns:a16="http://schemas.microsoft.com/office/drawing/2014/main" id="{282B5076-1324-312D-B6DE-8CE1974500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1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249094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8"/>
            <a:ext cx="10083800" cy="157222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3733429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24CA78E3-2E5D-CE16-BBBC-7EB01FDDCC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852" y="500675"/>
            <a:ext cx="11246296" cy="577558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27781" y="2306294"/>
            <a:ext cx="7200000" cy="512961"/>
          </a:xfrm>
        </p:spPr>
        <p:txBody>
          <a:bodyPr anchor="b"/>
          <a:lstStyle>
            <a:lvl1pPr>
              <a:defRPr sz="3333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27781" y="3122384"/>
            <a:ext cx="7200000" cy="738664"/>
          </a:xfrm>
        </p:spPr>
        <p:txBody>
          <a:bodyPr/>
          <a:lstStyle>
            <a:lvl1pPr marL="335992" indent="-335992">
              <a:spcBef>
                <a:spcPts val="667"/>
              </a:spcBef>
              <a:buFont typeface="+mj-lt"/>
              <a:buAutoNum type="arabicPeriod"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3AC3A8C-4813-CA2B-5326-02B3E4CCBE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4D3508D-8535-C0C4-DF98-1B2D631F6E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</p:spTree>
    <p:extLst>
      <p:ext uri="{BB962C8B-B14F-4D97-AF65-F5344CB8AC3E}">
        <p14:creationId xmlns:p14="http://schemas.microsoft.com/office/powerpoint/2010/main" val="42313610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8"/>
            <a:ext cx="10083800" cy="182272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  <a:p>
            <a:pPr lvl="5"/>
            <a:r>
              <a:rPr lang="fr-FR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12533503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10083800" cy="1699611"/>
          </a:xfrm>
        </p:spPr>
        <p:txBody>
          <a:bodyPr numCol="2" spcCol="360000"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  <a:p>
            <a:pPr lvl="5"/>
            <a:r>
              <a:rPr lang="fr-FR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507161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2192053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  <a:p>
            <a:pPr lvl="5"/>
            <a:r>
              <a:rPr lang="fr-FR"/>
              <a:t>Six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Surtitre facultatif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71EB19E3-029A-42B2-EB1A-69099B93EAC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67925" y="1989668"/>
            <a:ext cx="4944000" cy="4078817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34217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4533D0-2D77-B5FB-FD73-BDDB403B61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BD4E62F6-575A-068A-048D-50F26E2EB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Surtitre facultatif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F8B06798-28E0-3747-F4F3-F76B3EE77B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6717" y="1178229"/>
            <a:ext cx="10083800" cy="36933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ableau 8">
            <a:extLst>
              <a:ext uri="{FF2B5EF4-FFF2-40B4-BE49-F238E27FC236}">
                <a16:creationId xmlns:a16="http://schemas.microsoft.com/office/drawing/2014/main" id="{1CEC6816-BABD-A364-D47E-F99EF10F05E5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246716" y="1845732"/>
            <a:ext cx="9360000" cy="3456000"/>
          </a:xfrm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79971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738664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Surtitre facultatif</a:t>
            </a:r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id="{D6CAFF7C-B731-0E2A-C63F-0FCEC2AFD62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246184" y="2708484"/>
            <a:ext cx="4942416" cy="3360000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graphique 7">
            <a:extLst>
              <a:ext uri="{FF2B5EF4-FFF2-40B4-BE49-F238E27FC236}">
                <a16:creationId xmlns:a16="http://schemas.microsoft.com/office/drawing/2014/main" id="{9BB51560-29F9-AF24-8E9B-CFCED98F6EB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716384" y="1999738"/>
            <a:ext cx="4942416" cy="4068745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04659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3" name="Espace réservé du texte 11">
            <a:extLst>
              <a:ext uri="{FF2B5EF4-FFF2-40B4-BE49-F238E27FC236}">
                <a16:creationId xmlns:a16="http://schemas.microsoft.com/office/drawing/2014/main" id="{282B5076-1324-312D-B6DE-8CE1974500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accent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2780712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1 text z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D0FE40B-7B5E-4DC1-ADD8-2A87EED875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0241" y="1131892"/>
            <a:ext cx="11011519" cy="1962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25147" marR="0" indent="-268148" algn="l" defTabSz="91392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Arial" pitchFamily="34" charset="0"/>
              <a:buChar char="►"/>
              <a:tabLst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To increase or decrease list level, click on the “Home” tab, then in the “Paragraph” section, click “Increase list level” or “Decrease list level”</a:t>
            </a:r>
          </a:p>
          <a:p>
            <a:pPr lvl="1"/>
            <a:r>
              <a:rPr lang="en-US"/>
              <a:t>Shortcuts: to increase </a:t>
            </a:r>
            <a:r>
              <a:rPr lang="en-US">
                <a:sym typeface="Wingdings" panose="05000000000000000000" pitchFamily="2" charset="2"/>
              </a:rPr>
              <a:t></a:t>
            </a:r>
            <a:r>
              <a:rPr lang="en-US"/>
              <a:t> “Tab” on your keyboard</a:t>
            </a:r>
          </a:p>
          <a:p>
            <a:pPr lvl="2"/>
            <a:r>
              <a:rPr lang="en-US"/>
              <a:t>Shortcuts: to decrease </a:t>
            </a:r>
            <a:r>
              <a:rPr lang="en-US">
                <a:sym typeface="Wingdings" panose="05000000000000000000" pitchFamily="2" charset="2"/>
              </a:rPr>
              <a:t></a:t>
            </a:r>
            <a:r>
              <a:rPr lang="en-US"/>
              <a:t> “Shift tab” on your keyboard</a:t>
            </a:r>
            <a:endParaRPr lang="en-US">
              <a:sym typeface="Wingdings" panose="05000000000000000000" pitchFamily="2" charset="2"/>
            </a:endParaRP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870A849-7A4F-4950-8C7B-766DF4F5E3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8617245" y="3381195"/>
            <a:ext cx="6297099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3920" rtl="0" eaLnBrk="1" latinLnBrk="0" hangingPunct="1">
              <a:defRPr lang="en-IN" sz="800" b="0" kern="1200" baseline="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DRUIDES - Wébinaire déploiement SMR - 18/07/24</a:t>
            </a:r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2D86072-2627-40DF-A304-D7F1F0383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6829" y="6430979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2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fld id="{F1BC30E3-FFE5-4B91-AA19-87A149EBB9E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2FCE3DB6-74B0-493A-A514-056E2F36B9C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41" y="6402456"/>
            <a:ext cx="5406193" cy="0"/>
          </a:xfrm>
          <a:prstGeom prst="line">
            <a:avLst/>
          </a:prstGeom>
          <a:noFill/>
          <a:ln w="6350" cap="rnd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085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70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255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340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425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45100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5949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6799" algn="l" defTabSz="981700" rtl="0" eaLnBrk="1" latinLnBrk="0" hangingPunct="1">
              <a:defRPr sz="1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1" noProof="0">
              <a:solidFill>
                <a:schemeClr val="bg1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85F03A-4F56-46FE-8BBD-2F736DCC6C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244" y="260863"/>
            <a:ext cx="11011515" cy="512961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27" name="Line 10">
            <a:extLst>
              <a:ext uri="{FF2B5EF4-FFF2-40B4-BE49-F238E27FC236}">
                <a16:creationId xmlns:a16="http://schemas.microsoft.com/office/drawing/2014/main" id="{2E5F648F-AF3F-43A1-A859-163206F3216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40" y="867761"/>
            <a:ext cx="11013005" cy="0"/>
          </a:xfrm>
          <a:prstGeom prst="line">
            <a:avLst/>
          </a:prstGeom>
          <a:noFill/>
          <a:ln w="19050" cap="rnd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61ACDABE-6A57-4C03-BA78-C934D78C7B9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97910" y="6286822"/>
            <a:ext cx="303055" cy="311151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1238E1FD-D812-453D-BFB2-D3B19CA680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B35CF7D-E1B7-46B6-A3A4-AE596DD8C7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A30BB4A-7508-4F1F-865D-9F10C8E049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8701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3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223792" y="2141372"/>
            <a:ext cx="6444208" cy="1231107"/>
          </a:xfrm>
        </p:spPr>
        <p:txBody>
          <a:bodyPr anchor="b"/>
          <a:lstStyle>
            <a:lvl1pPr algn="l"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223792" y="3498685"/>
            <a:ext cx="6444208" cy="820737"/>
          </a:xfrm>
        </p:spPr>
        <p:txBody>
          <a:bodyPr/>
          <a:lstStyle>
            <a:lvl1pPr marL="0" indent="0" algn="l">
              <a:buNone/>
              <a:defRPr sz="2667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9" name="Espace réservé du texte 11">
            <a:extLst>
              <a:ext uri="{FF2B5EF4-FFF2-40B4-BE49-F238E27FC236}">
                <a16:creationId xmlns:a16="http://schemas.microsoft.com/office/drawing/2014/main" id="{C50F4A5E-D6A4-08B7-9A88-2358FE96B4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23792" y="5427952"/>
            <a:ext cx="1488165" cy="184665"/>
          </a:xfrm>
          <a:solidFill>
            <a:schemeClr val="tx2"/>
          </a:solidFill>
        </p:spPr>
        <p:txBody>
          <a:bodyPr wrap="square" lIns="36000" tIns="0" rIns="36000" bIns="0" anchor="ctr" anchorCtr="0"/>
          <a:lstStyle>
            <a:lvl1pPr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0" name="Espace réservé du texte 11">
            <a:extLst>
              <a:ext uri="{FF2B5EF4-FFF2-40B4-BE49-F238E27FC236}">
                <a16:creationId xmlns:a16="http://schemas.microsoft.com/office/drawing/2014/main" id="{4A1211C6-255F-9557-7F7D-E7CA6158E5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23792" y="5889226"/>
            <a:ext cx="3792421" cy="369332"/>
          </a:xfrm>
        </p:spPr>
        <p:txBody>
          <a:bodyPr/>
          <a:lstStyle>
            <a:lvl1pPr>
              <a:buFontTx/>
              <a:buNone/>
              <a:defRPr sz="1200" b="1" cap="all" baseline="0">
                <a:solidFill>
                  <a:schemeClr val="accent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24E9F904-6733-D4B1-9024-E66E9D093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48" t="17443" r="6546" b="18929"/>
          <a:stretch/>
        </p:blipFill>
        <p:spPr>
          <a:xfrm>
            <a:off x="2580148" y="380569"/>
            <a:ext cx="4272000" cy="104338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821EB37-DC3E-3699-8A9A-B748200E8C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28316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0654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24CA78E3-2E5D-CE16-BBBC-7EB01FDDCC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852" y="500675"/>
            <a:ext cx="11246296" cy="577558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27781" y="2306294"/>
            <a:ext cx="7200000" cy="512961"/>
          </a:xfrm>
        </p:spPr>
        <p:txBody>
          <a:bodyPr anchor="b"/>
          <a:lstStyle>
            <a:lvl1pPr>
              <a:defRPr sz="3333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27781" y="3122384"/>
            <a:ext cx="7200000" cy="738664"/>
          </a:xfrm>
        </p:spPr>
        <p:txBody>
          <a:bodyPr/>
          <a:lstStyle>
            <a:lvl1pPr marL="335992" indent="-335992">
              <a:spcBef>
                <a:spcPts val="667"/>
              </a:spcBef>
              <a:buFont typeface="+mj-lt"/>
              <a:buAutoNum type="arabicPeriod"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3AC3A8C-4813-CA2B-5326-02B3E4CCBE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406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10083800" cy="1699611"/>
          </a:xfrm>
        </p:spPr>
        <p:txBody>
          <a:bodyPr numCol="2" spcCol="360000"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28954683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8"/>
            <a:ext cx="10083800" cy="157222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15027521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10083800" cy="1699611"/>
          </a:xfrm>
        </p:spPr>
        <p:txBody>
          <a:bodyPr numCol="2" spcCol="360000"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16025466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1941557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71EB19E3-029A-42B2-EB1A-69099B93EAC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67925" y="1989668"/>
            <a:ext cx="4944000" cy="4078817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882072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4533D0-2D77-B5FB-FD73-BDDB403B61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BD4E62F6-575A-068A-048D-50F26E2EB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F8B06798-28E0-3747-F4F3-F76B3EE77B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6717" y="1178229"/>
            <a:ext cx="10083800" cy="36933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ableau 8">
            <a:extLst>
              <a:ext uri="{FF2B5EF4-FFF2-40B4-BE49-F238E27FC236}">
                <a16:creationId xmlns:a16="http://schemas.microsoft.com/office/drawing/2014/main" id="{1CEC6816-BABD-A364-D47E-F99EF10F05E5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246716" y="1845732"/>
            <a:ext cx="9360000" cy="3456000"/>
          </a:xfrm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13138190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738664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id="{D6CAFF7C-B731-0E2A-C63F-0FCEC2AFD62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246184" y="2708484"/>
            <a:ext cx="4942416" cy="3360000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9" name="Espace réservé du graphique 7">
            <a:extLst>
              <a:ext uri="{FF2B5EF4-FFF2-40B4-BE49-F238E27FC236}">
                <a16:creationId xmlns:a16="http://schemas.microsoft.com/office/drawing/2014/main" id="{9BB51560-29F9-AF24-8E9B-CFCED98F6EB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716384" y="1999738"/>
            <a:ext cx="4942416" cy="4068745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6291900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3" name="Espace réservé du texte 11">
            <a:extLst>
              <a:ext uri="{FF2B5EF4-FFF2-40B4-BE49-F238E27FC236}">
                <a16:creationId xmlns:a16="http://schemas.microsoft.com/office/drawing/2014/main" id="{8E0BE3C1-77D8-9718-0B30-ADF3771D5E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41766668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1941557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71EB19E3-029A-42B2-EB1A-69099B93EAC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67925" y="1989668"/>
            <a:ext cx="4944000" cy="4078817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37191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4533D0-2D77-B5FB-FD73-BDDB403B61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BD4E62F6-575A-068A-048D-50F26E2EB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F8B06798-28E0-3747-F4F3-F76B3EE77B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6717" y="1178229"/>
            <a:ext cx="10083800" cy="36933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ableau 8">
            <a:extLst>
              <a:ext uri="{FF2B5EF4-FFF2-40B4-BE49-F238E27FC236}">
                <a16:creationId xmlns:a16="http://schemas.microsoft.com/office/drawing/2014/main" id="{1CEC6816-BABD-A364-D47E-F99EF10F05E5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246716" y="1845732"/>
            <a:ext cx="9360000" cy="3456000"/>
          </a:xfrm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tableau</a:t>
            </a:r>
          </a:p>
        </p:txBody>
      </p:sp>
    </p:spTree>
    <p:extLst>
      <p:ext uri="{BB962C8B-B14F-4D97-AF65-F5344CB8AC3E}">
        <p14:creationId xmlns:p14="http://schemas.microsoft.com/office/powerpoint/2010/main" val="26030097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AF956EF-B533-C2A5-DA2A-D084FE4290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7"/>
            <a:ext cx="4944000" cy="738664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6C73F5E-2E3F-12A0-0940-73BEE33BA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id="{D6CAFF7C-B731-0E2A-C63F-0FCEC2AFD62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246184" y="2708484"/>
            <a:ext cx="4942416" cy="3360000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9" name="Espace réservé du graphique 7">
            <a:extLst>
              <a:ext uri="{FF2B5EF4-FFF2-40B4-BE49-F238E27FC236}">
                <a16:creationId xmlns:a16="http://schemas.microsoft.com/office/drawing/2014/main" id="{9BB51560-29F9-AF24-8E9B-CFCED98F6EB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716384" y="1999738"/>
            <a:ext cx="4942416" cy="4068745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40999981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3" name="Espace réservé du texte 11">
            <a:extLst>
              <a:ext uri="{FF2B5EF4-FFF2-40B4-BE49-F238E27FC236}">
                <a16:creationId xmlns:a16="http://schemas.microsoft.com/office/drawing/2014/main" id="{8E0BE3C1-77D8-9718-0B30-ADF3771D5E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781"/>
            <a:ext cx="2337848" cy="420466"/>
          </a:xfrm>
          <a:solidFill>
            <a:schemeClr val="tx2"/>
          </a:solidFill>
        </p:spPr>
        <p:txBody>
          <a:bodyPr wrap="none" lIns="144000" tIns="54000" rIns="144000" bIns="57600" anchor="ctr" anchorCtr="0"/>
          <a:lstStyle>
            <a:lvl1pPr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Surtitre facultatif</a:t>
            </a:r>
          </a:p>
        </p:txBody>
      </p:sp>
    </p:spTree>
    <p:extLst>
      <p:ext uri="{BB962C8B-B14F-4D97-AF65-F5344CB8AC3E}">
        <p14:creationId xmlns:p14="http://schemas.microsoft.com/office/powerpoint/2010/main" val="41995424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24CA78E3-2E5D-CE16-BBBC-7EB01FDDCC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2852" y="500675"/>
            <a:ext cx="11246296" cy="577558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27781" y="2306294"/>
            <a:ext cx="7200000" cy="512961"/>
          </a:xfrm>
        </p:spPr>
        <p:txBody>
          <a:bodyPr anchor="b"/>
          <a:lstStyle>
            <a:lvl1pPr>
              <a:defRPr sz="3333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27781" y="3122384"/>
            <a:ext cx="7200000" cy="738664"/>
          </a:xfrm>
        </p:spPr>
        <p:txBody>
          <a:bodyPr/>
          <a:lstStyle>
            <a:lvl1pPr marL="335992" indent="-335992">
              <a:spcBef>
                <a:spcPts val="667"/>
              </a:spcBef>
              <a:buFont typeface="+mj-lt"/>
              <a:buAutoNum type="arabicPeriod"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3AC3A8C-4813-CA2B-5326-02B3E4CCBE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4D3508D-8535-C0C4-DF98-1B2D631F6E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0155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0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12.emf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33.xml"/><Relationship Id="rId9" Type="http://schemas.openxmlformats.org/officeDocument/2006/relationships/theme" Target="../theme/theme5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42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1.xml"/><Relationship Id="rId9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512961"/>
          </a:xfrm>
          <a:prstGeom prst="rect">
            <a:avLst/>
          </a:prstGeom>
        </p:spPr>
        <p:txBody>
          <a:bodyPr vert="horz" wrap="square" lIns="36000" tIns="0" rIns="36000" bIns="0" rtlCol="0" anchor="t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46717" y="2007421"/>
            <a:ext cx="10080000" cy="1822721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244367" y="6517262"/>
            <a:ext cx="6720000" cy="164148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 marL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DRUIDES - Wébinaire déploiement SMR - 18/07/24</a:t>
            </a:r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4007CC1-03D6-D1C1-41D5-F7281DB5A1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FFEC77B-E3D8-DB00-61A3-6125FF5126A4}"/>
              </a:ext>
            </a:extLst>
          </p:cNvPr>
          <p:cNvSpPr txBox="1"/>
          <p:nvPr userDrawn="1"/>
        </p:nvSpPr>
        <p:spPr>
          <a:xfrm>
            <a:off x="11468042" y="6517230"/>
            <a:ext cx="340594" cy="164212"/>
          </a:xfrm>
          <a:prstGeom prst="rect">
            <a:avLst/>
          </a:prstGeom>
          <a:noFill/>
        </p:spPr>
        <p:txBody>
          <a:bodyPr wrap="none" lIns="48000" tIns="0" rIns="48000" bIns="0" rtlCol="0" anchor="ctr">
            <a:spAutoFit/>
          </a:bodyPr>
          <a:lstStyle/>
          <a:p>
            <a:pPr algn="r"/>
            <a:fld id="{217291F9-336E-420B-868A-5B1847BD1A16}" type="slidenum">
              <a:rPr lang="fr-FR" sz="1067" b="1" smtClean="0">
                <a:solidFill>
                  <a:schemeClr val="accent1"/>
                </a:solidFill>
              </a:rPr>
              <a:pPr algn="r"/>
              <a:t>‹N°›</a:t>
            </a:fld>
            <a:endParaRPr lang="fr-FR" sz="1067" b="1" dirty="0" err="1">
              <a:solidFill>
                <a:schemeClr val="accent1"/>
              </a:solidFill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19BC0D5-1798-2761-40A7-2034FE5A8C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13192" y="1553"/>
            <a:ext cx="1078808" cy="11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06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4" r:id="rId4"/>
    <p:sldLayoutId id="2147483655" r:id="rId5"/>
    <p:sldLayoutId id="2147483653" r:id="rId6"/>
    <p:sldLayoutId id="2147483656" r:id="rId7"/>
    <p:sldLayoutId id="2147483652" r:id="rId8"/>
  </p:sldLayoutIdLst>
  <p:hf sldNum="0" hdr="0" dt="0"/>
  <p:txStyles>
    <p:titleStyle>
      <a:lvl1pPr marL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3333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2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533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0" algn="l" defTabSz="914377" rtl="0" eaLnBrk="1" latinLnBrk="0" hangingPunct="1">
        <a:lnSpc>
          <a:spcPct val="100000"/>
        </a:lnSpc>
        <a:spcBef>
          <a:spcPts val="800"/>
        </a:spcBef>
        <a:buFontTx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191995" indent="-191995" algn="l" defTabSz="914377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982" indent="-191995" algn="l" defTabSz="914377" rtl="0" eaLnBrk="1" latinLnBrk="0" hangingPunct="1">
        <a:lnSpc>
          <a:spcPct val="100000"/>
        </a:lnSpc>
        <a:spcBef>
          <a:spcPts val="0"/>
        </a:spcBef>
        <a:buFont typeface="Montserrat Medium" panose="00000600000000000000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199970" indent="-143996" algn="l" defTabSz="914377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85" userDrawn="1">
          <p15:clr>
            <a:srgbClr val="F26B43"/>
          </p15:clr>
        </p15:guide>
        <p15:guide id="3" pos="7136" userDrawn="1">
          <p15:clr>
            <a:srgbClr val="F26B43"/>
          </p15:clr>
        </p15:guide>
        <p15:guide id="4" orient="horz" pos="407" userDrawn="1">
          <p15:clr>
            <a:srgbClr val="F26B43"/>
          </p15:clr>
        </p15:guide>
        <p15:guide id="5" orient="horz" pos="1253" userDrawn="1">
          <p15:clr>
            <a:srgbClr val="F26B43"/>
          </p15:clr>
        </p15:guide>
        <p15:guide id="6" orient="horz" pos="382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D52CDB63-A559-C03E-474D-B8E867E114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18744" y="0"/>
            <a:ext cx="1073257" cy="11520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512961"/>
          </a:xfrm>
          <a:prstGeom prst="rect">
            <a:avLst/>
          </a:prstGeom>
        </p:spPr>
        <p:txBody>
          <a:bodyPr vert="horz" wrap="square" lIns="36000" tIns="0" rIns="36000" bIns="0" rtlCol="0" anchor="t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46717" y="2007421"/>
            <a:ext cx="10080000" cy="1822721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244367" y="6517262"/>
            <a:ext cx="6720000" cy="164148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 marL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DRUIDES - Wébinaire déploiement SMR - 18/07/24</a:t>
            </a:r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4007CC1-03D6-D1C1-41D5-F7281DB5A1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FFEC77B-E3D8-DB00-61A3-6125FF5126A4}"/>
              </a:ext>
            </a:extLst>
          </p:cNvPr>
          <p:cNvSpPr txBox="1"/>
          <p:nvPr userDrawn="1"/>
        </p:nvSpPr>
        <p:spPr>
          <a:xfrm>
            <a:off x="11468042" y="6517230"/>
            <a:ext cx="340594" cy="164212"/>
          </a:xfrm>
          <a:prstGeom prst="rect">
            <a:avLst/>
          </a:prstGeom>
          <a:noFill/>
        </p:spPr>
        <p:txBody>
          <a:bodyPr wrap="none" lIns="48000" tIns="0" rIns="48000" bIns="0" rtlCol="0" anchor="ctr">
            <a:spAutoFit/>
          </a:bodyPr>
          <a:lstStyle/>
          <a:p>
            <a:pPr algn="r"/>
            <a:fld id="{217291F9-336E-420B-868A-5B1847BD1A16}" type="slidenum">
              <a:rPr lang="fr-FR" sz="1067" b="1" smtClean="0">
                <a:solidFill>
                  <a:schemeClr val="accent1"/>
                </a:solidFill>
              </a:rPr>
              <a:pPr algn="r"/>
              <a:t>‹N°›</a:t>
            </a:fld>
            <a:endParaRPr lang="fr-FR" sz="1067" b="1" dirty="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309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</p:sldLayoutIdLst>
  <p:hf sldNum="0" hdr="0" dt="0"/>
  <p:txStyles>
    <p:titleStyle>
      <a:lvl1pPr marL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3333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2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533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0" algn="l" defTabSz="914377" rtl="0" eaLnBrk="1" latinLnBrk="0" hangingPunct="1">
        <a:lnSpc>
          <a:spcPct val="100000"/>
        </a:lnSpc>
        <a:spcBef>
          <a:spcPts val="800"/>
        </a:spcBef>
        <a:buFontTx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191995" indent="-191995" algn="l" defTabSz="914377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982" indent="-191995" algn="l" defTabSz="914377" rtl="0" eaLnBrk="1" latinLnBrk="0" hangingPunct="1">
        <a:lnSpc>
          <a:spcPct val="100000"/>
        </a:lnSpc>
        <a:spcBef>
          <a:spcPts val="0"/>
        </a:spcBef>
        <a:buFont typeface="Montserrat Medium" panose="00000600000000000000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199970" indent="-143996" algn="l" defTabSz="914377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85" userDrawn="1">
          <p15:clr>
            <a:srgbClr val="F26B43"/>
          </p15:clr>
        </p15:guide>
        <p15:guide id="3" pos="7136" userDrawn="1">
          <p15:clr>
            <a:srgbClr val="F26B43"/>
          </p15:clr>
        </p15:guide>
        <p15:guide id="4" orient="horz" pos="407" userDrawn="1">
          <p15:clr>
            <a:srgbClr val="F26B43"/>
          </p15:clr>
        </p15:guide>
        <p15:guide id="5" orient="horz" pos="1253" userDrawn="1">
          <p15:clr>
            <a:srgbClr val="F26B43"/>
          </p15:clr>
        </p15:guide>
        <p15:guide id="6" orient="horz" pos="382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0C4683B8-3979-F66D-5356-A2FF53DB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19384" y="0"/>
            <a:ext cx="1072616" cy="11520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512961"/>
          </a:xfrm>
          <a:prstGeom prst="rect">
            <a:avLst/>
          </a:prstGeom>
        </p:spPr>
        <p:txBody>
          <a:bodyPr vert="horz" wrap="square" lIns="36000" tIns="0" rIns="36000" bIns="0" rtlCol="0" anchor="t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46717" y="2007421"/>
            <a:ext cx="10080000" cy="1822721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244367" y="6517262"/>
            <a:ext cx="6720000" cy="164148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 marL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DRUIDES - Wébinaire déploiement SMR - 18/07/24</a:t>
            </a:r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4007CC1-03D6-D1C1-41D5-F7281DB5A1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FFEC77B-E3D8-DB00-61A3-6125FF5126A4}"/>
              </a:ext>
            </a:extLst>
          </p:cNvPr>
          <p:cNvSpPr txBox="1"/>
          <p:nvPr userDrawn="1"/>
        </p:nvSpPr>
        <p:spPr>
          <a:xfrm>
            <a:off x="11468042" y="6517230"/>
            <a:ext cx="340594" cy="164212"/>
          </a:xfrm>
          <a:prstGeom prst="rect">
            <a:avLst/>
          </a:prstGeom>
          <a:noFill/>
        </p:spPr>
        <p:txBody>
          <a:bodyPr wrap="none" lIns="48000" tIns="0" rIns="48000" bIns="0" rtlCol="0" anchor="ctr">
            <a:spAutoFit/>
          </a:bodyPr>
          <a:lstStyle/>
          <a:p>
            <a:pPr algn="r"/>
            <a:fld id="{217291F9-336E-420B-868A-5B1847BD1A16}" type="slidenum">
              <a:rPr lang="fr-FR" sz="1067" b="1" smtClean="0">
                <a:solidFill>
                  <a:schemeClr val="accent1"/>
                </a:solidFill>
              </a:rPr>
              <a:pPr algn="r"/>
              <a:t>‹N°›</a:t>
            </a:fld>
            <a:endParaRPr lang="fr-FR" sz="1067" b="1" dirty="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564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</p:sldLayoutIdLst>
  <p:hf sldNum="0" hdr="0" dt="0"/>
  <p:txStyles>
    <p:titleStyle>
      <a:lvl1pPr marL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3333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2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533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0" algn="l" defTabSz="914377" rtl="0" eaLnBrk="1" latinLnBrk="0" hangingPunct="1">
        <a:lnSpc>
          <a:spcPct val="100000"/>
        </a:lnSpc>
        <a:spcBef>
          <a:spcPts val="800"/>
        </a:spcBef>
        <a:buFontTx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191995" indent="-191995" algn="l" defTabSz="914377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982" indent="-191995" algn="l" defTabSz="914377" rtl="0" eaLnBrk="1" latinLnBrk="0" hangingPunct="1">
        <a:lnSpc>
          <a:spcPct val="100000"/>
        </a:lnSpc>
        <a:spcBef>
          <a:spcPts val="0"/>
        </a:spcBef>
        <a:buFont typeface="Montserrat Medium" panose="00000600000000000000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199970" indent="-143996" algn="l" defTabSz="914377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85" userDrawn="1">
          <p15:clr>
            <a:srgbClr val="F26B43"/>
          </p15:clr>
        </p15:guide>
        <p15:guide id="3" pos="7136" userDrawn="1">
          <p15:clr>
            <a:srgbClr val="F26B43"/>
          </p15:clr>
        </p15:guide>
        <p15:guide id="4" orient="horz" pos="407" userDrawn="1">
          <p15:clr>
            <a:srgbClr val="F26B43"/>
          </p15:clr>
        </p15:guide>
        <p15:guide id="5" orient="horz" pos="1253" userDrawn="1">
          <p15:clr>
            <a:srgbClr val="F26B43"/>
          </p15:clr>
        </p15:guide>
        <p15:guide id="6" orient="horz" pos="3823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05F186B8-9346-AF77-42AF-EDDCB22995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17387" y="0"/>
            <a:ext cx="1074613" cy="11520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512961"/>
          </a:xfrm>
          <a:prstGeom prst="rect">
            <a:avLst/>
          </a:prstGeom>
        </p:spPr>
        <p:txBody>
          <a:bodyPr vert="horz" wrap="square" lIns="36000" tIns="0" rIns="36000" bIns="0" rtlCol="0" anchor="t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46717" y="2007421"/>
            <a:ext cx="10080000" cy="1822721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244367" y="6517262"/>
            <a:ext cx="6720000" cy="164148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 marL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DRUIDES - Wébinaire déploiement SMR - 18/07/24</a:t>
            </a:r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4007CC1-03D6-D1C1-41D5-F7281DB5A1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FFEC77B-E3D8-DB00-61A3-6125FF5126A4}"/>
              </a:ext>
            </a:extLst>
          </p:cNvPr>
          <p:cNvSpPr txBox="1"/>
          <p:nvPr userDrawn="1"/>
        </p:nvSpPr>
        <p:spPr>
          <a:xfrm>
            <a:off x="11468042" y="6517230"/>
            <a:ext cx="340594" cy="164212"/>
          </a:xfrm>
          <a:prstGeom prst="rect">
            <a:avLst/>
          </a:prstGeom>
          <a:noFill/>
        </p:spPr>
        <p:txBody>
          <a:bodyPr wrap="none" lIns="48000" tIns="0" rIns="48000" bIns="0" rtlCol="0" anchor="ctr">
            <a:spAutoFit/>
          </a:bodyPr>
          <a:lstStyle/>
          <a:p>
            <a:pPr algn="r"/>
            <a:fld id="{217291F9-336E-420B-868A-5B1847BD1A16}" type="slidenum">
              <a:rPr lang="fr-FR" sz="1067" b="1" smtClean="0">
                <a:solidFill>
                  <a:schemeClr val="accent1"/>
                </a:solidFill>
              </a:rPr>
              <a:pPr algn="r"/>
              <a:t>‹N°›</a:t>
            </a:fld>
            <a:endParaRPr lang="fr-FR" sz="1067" b="1" dirty="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747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sldNum="0" hdr="0" dt="0"/>
  <p:txStyles>
    <p:titleStyle>
      <a:lvl1pPr marL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3333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2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533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0" algn="l" defTabSz="914377" rtl="0" eaLnBrk="1" latinLnBrk="0" hangingPunct="1">
        <a:lnSpc>
          <a:spcPct val="100000"/>
        </a:lnSpc>
        <a:spcBef>
          <a:spcPts val="800"/>
        </a:spcBef>
        <a:buFontTx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191995" indent="-191995" algn="l" defTabSz="914377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982" indent="-191995" algn="l" defTabSz="914377" rtl="0" eaLnBrk="1" latinLnBrk="0" hangingPunct="1">
        <a:lnSpc>
          <a:spcPct val="100000"/>
        </a:lnSpc>
        <a:spcBef>
          <a:spcPts val="0"/>
        </a:spcBef>
        <a:buFont typeface="Montserrat Medium" panose="00000600000000000000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199970" indent="-143996" algn="l" defTabSz="914377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85" userDrawn="1">
          <p15:clr>
            <a:srgbClr val="F26B43"/>
          </p15:clr>
        </p15:guide>
        <p15:guide id="3" pos="7136" userDrawn="1">
          <p15:clr>
            <a:srgbClr val="F26B43"/>
          </p15:clr>
        </p15:guide>
        <p15:guide id="4" orient="horz" pos="407" userDrawn="1">
          <p15:clr>
            <a:srgbClr val="F26B43"/>
          </p15:clr>
        </p15:guide>
        <p15:guide id="5" orient="horz" pos="1253" userDrawn="1">
          <p15:clr>
            <a:srgbClr val="F26B43"/>
          </p15:clr>
        </p15:guide>
        <p15:guide id="6" orient="horz" pos="382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881BBF6F-1602-8156-F408-F62C55EAD2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1115472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1" imgW="408" imgH="408" progId="TCLayout.ActiveDocument.1">
                  <p:embed/>
                </p:oleObj>
              </mc:Choice>
              <mc:Fallback>
                <p:oleObj name="Diapositive think-cell" r:id="rId11" imgW="408" imgH="408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881BBF6F-1602-8156-F408-F62C55EAD2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D52CDB63-A559-C03E-474D-B8E867E114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18744" y="0"/>
            <a:ext cx="1073257" cy="11520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512961"/>
          </a:xfrm>
          <a:prstGeom prst="rect">
            <a:avLst/>
          </a:prstGeom>
        </p:spPr>
        <p:txBody>
          <a:bodyPr vert="horz" wrap="square" lIns="36000" tIns="0" rIns="36000" bIns="0" rtlCol="0" anchor="t">
            <a:sp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46717" y="2007421"/>
            <a:ext cx="10080000" cy="1822721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  <a:p>
            <a:pPr lvl="5"/>
            <a:r>
              <a:rPr lang="fr-FR"/>
              <a:t>Six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244367" y="6517262"/>
            <a:ext cx="6720000" cy="164148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 marL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DRUIDES - Wébinaire déploiement SMR - 18/07/24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4007CC1-03D6-D1C1-41D5-F7281DB5A1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FFEC77B-E3D8-DB00-61A3-6125FF5126A4}"/>
              </a:ext>
            </a:extLst>
          </p:cNvPr>
          <p:cNvSpPr txBox="1"/>
          <p:nvPr userDrawn="1"/>
        </p:nvSpPr>
        <p:spPr>
          <a:xfrm>
            <a:off x="11468042" y="6517230"/>
            <a:ext cx="340594" cy="164212"/>
          </a:xfrm>
          <a:prstGeom prst="rect">
            <a:avLst/>
          </a:prstGeom>
          <a:noFill/>
        </p:spPr>
        <p:txBody>
          <a:bodyPr wrap="none" lIns="48000" tIns="0" rIns="48000" bIns="0" rtlCol="0" anchor="ctr">
            <a:spAutoFit/>
          </a:bodyPr>
          <a:lstStyle/>
          <a:p>
            <a:pPr algn="r"/>
            <a:fld id="{217291F9-336E-420B-868A-5B1847BD1A16}" type="slidenum">
              <a:rPr lang="fr-FR" sz="1067" b="1" smtClean="0">
                <a:solidFill>
                  <a:schemeClr val="accent1"/>
                </a:solidFill>
              </a:rPr>
              <a:pPr algn="r"/>
              <a:t>‹N°›</a:t>
            </a:fld>
            <a:endParaRPr lang="fr-FR" sz="1067" b="1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883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</p:sldLayoutIdLst>
  <p:hf sldNum="0" hdr="0" dt="0"/>
  <p:txStyles>
    <p:titleStyle>
      <a:lvl1pPr marL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3333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2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533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0" algn="l" defTabSz="914377" rtl="0" eaLnBrk="1" latinLnBrk="0" hangingPunct="1">
        <a:lnSpc>
          <a:spcPct val="100000"/>
        </a:lnSpc>
        <a:spcBef>
          <a:spcPts val="800"/>
        </a:spcBef>
        <a:buFontTx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191995" indent="-191995" algn="l" defTabSz="914377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982" indent="-191995" algn="l" defTabSz="914377" rtl="0" eaLnBrk="1" latinLnBrk="0" hangingPunct="1">
        <a:lnSpc>
          <a:spcPct val="100000"/>
        </a:lnSpc>
        <a:spcBef>
          <a:spcPts val="0"/>
        </a:spcBef>
        <a:buFont typeface="Montserrat Medium" panose="00000600000000000000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199970" indent="-143996" algn="l" defTabSz="914377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85" userDrawn="1">
          <p15:clr>
            <a:srgbClr val="F26B43"/>
          </p15:clr>
        </p15:guide>
        <p15:guide id="3" pos="7136" userDrawn="1">
          <p15:clr>
            <a:srgbClr val="F26B43"/>
          </p15:clr>
        </p15:guide>
        <p15:guide id="4" orient="horz" pos="407" userDrawn="1">
          <p15:clr>
            <a:srgbClr val="F26B43"/>
          </p15:clr>
        </p15:guide>
        <p15:guide id="5" orient="horz" pos="1253" userDrawn="1">
          <p15:clr>
            <a:srgbClr val="F26B43"/>
          </p15:clr>
        </p15:guide>
        <p15:guide id="6" orient="horz" pos="3823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512961"/>
          </a:xfrm>
          <a:prstGeom prst="rect">
            <a:avLst/>
          </a:prstGeom>
        </p:spPr>
        <p:txBody>
          <a:bodyPr vert="horz" wrap="square" lIns="36000" tIns="0" rIns="36000" bIns="0" rtlCol="0" anchor="t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46717" y="2007421"/>
            <a:ext cx="10080000" cy="1822721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244367" y="6517262"/>
            <a:ext cx="6720000" cy="164148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 marL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DRUIDES - Wébinaire déploiement SMR - 18/07/24</a:t>
            </a:r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4007CC1-03D6-D1C1-41D5-F7281DB5A1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" t="23728" r="42066" b="25385"/>
          <a:stretch/>
        </p:blipFill>
        <p:spPr>
          <a:xfrm>
            <a:off x="426023" y="6351126"/>
            <a:ext cx="1056117" cy="342237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FFEC77B-E3D8-DB00-61A3-6125FF5126A4}"/>
              </a:ext>
            </a:extLst>
          </p:cNvPr>
          <p:cNvSpPr txBox="1"/>
          <p:nvPr userDrawn="1"/>
        </p:nvSpPr>
        <p:spPr>
          <a:xfrm>
            <a:off x="11468042" y="6517230"/>
            <a:ext cx="340594" cy="164212"/>
          </a:xfrm>
          <a:prstGeom prst="rect">
            <a:avLst/>
          </a:prstGeom>
          <a:noFill/>
        </p:spPr>
        <p:txBody>
          <a:bodyPr wrap="none" lIns="48000" tIns="0" rIns="48000" bIns="0" rtlCol="0" anchor="ctr">
            <a:spAutoFit/>
          </a:bodyPr>
          <a:lstStyle/>
          <a:p>
            <a:pPr algn="r"/>
            <a:fld id="{217291F9-336E-420B-868A-5B1847BD1A16}" type="slidenum">
              <a:rPr lang="fr-FR" sz="1067" b="1" smtClean="0">
                <a:solidFill>
                  <a:schemeClr val="accent1"/>
                </a:solidFill>
              </a:rPr>
              <a:pPr algn="r"/>
              <a:t>‹N°›</a:t>
            </a:fld>
            <a:endParaRPr lang="fr-FR" sz="1067" b="1" dirty="0" err="1">
              <a:solidFill>
                <a:schemeClr val="accent1"/>
              </a:solidFill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19BC0D5-1798-2761-40A7-2034FE5A8C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13192" y="1553"/>
            <a:ext cx="1078808" cy="11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821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</p:sldLayoutIdLst>
  <p:hf sldNum="0" hdr="0" dt="0"/>
  <p:txStyles>
    <p:titleStyle>
      <a:lvl1pPr marL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3333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2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533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0" algn="l" defTabSz="914377" rtl="0" eaLnBrk="1" latinLnBrk="0" hangingPunct="1">
        <a:lnSpc>
          <a:spcPct val="100000"/>
        </a:lnSpc>
        <a:spcBef>
          <a:spcPts val="800"/>
        </a:spcBef>
        <a:buFontTx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191995" indent="-191995" algn="l" defTabSz="914377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982" indent="-191995" algn="l" defTabSz="914377" rtl="0" eaLnBrk="1" latinLnBrk="0" hangingPunct="1">
        <a:lnSpc>
          <a:spcPct val="100000"/>
        </a:lnSpc>
        <a:spcBef>
          <a:spcPts val="0"/>
        </a:spcBef>
        <a:buFont typeface="Montserrat Medium" panose="00000600000000000000" pitchFamily="2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199970" indent="-143996" algn="l" defTabSz="914377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85" userDrawn="1">
          <p15:clr>
            <a:srgbClr val="F26B43"/>
          </p15:clr>
        </p15:guide>
        <p15:guide id="3" pos="7136" userDrawn="1">
          <p15:clr>
            <a:srgbClr val="F26B43"/>
          </p15:clr>
        </p15:guide>
        <p15:guide id="4" orient="horz" pos="407" userDrawn="1">
          <p15:clr>
            <a:srgbClr val="F26B43"/>
          </p15:clr>
        </p15:guide>
        <p15:guide id="5" orient="horz" pos="1253" userDrawn="1">
          <p15:clr>
            <a:srgbClr val="F26B43"/>
          </p15:clr>
        </p15:guide>
        <p15:guide id="6" orient="horz" pos="382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valid-epmsi.atih.sante.fr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gora.atih.sante.fr/agora/ago_theme.do?idTheme=939" TargetMode="External"/><Relationship Id="rId2" Type="http://schemas.openxmlformats.org/officeDocument/2006/relationships/hyperlink" Target="https://www.atih.sante.fr/plateformes-de-transmission-et-logiciels/logiciels-espace-de-telechargement#D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atih.atlassian.net/wiki/spaces/DocDRUIDES" TargetMode="Externa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mailto:secretariat.cim-mf@atih.sante.fr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38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4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41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831638" y="1936125"/>
            <a:ext cx="9121013" cy="820866"/>
          </a:xfrm>
        </p:spPr>
        <p:txBody>
          <a:bodyPr anchor="ctr"/>
          <a:lstStyle/>
          <a:p>
            <a:pPr algn="ctr"/>
            <a:r>
              <a:rPr lang="fr-FR" sz="2667" dirty="0"/>
              <a:t>DRUIDES</a:t>
            </a:r>
            <a:br>
              <a:rPr lang="fr-FR" sz="2667" dirty="0"/>
            </a:br>
            <a:r>
              <a:rPr lang="fr-FR" sz="2667" cap="none" dirty="0"/>
              <a:t>Déploiement dans le champ SMR</a:t>
            </a:r>
            <a:endParaRPr lang="fr-FR" sz="2667" dirty="0"/>
          </a:p>
        </p:txBody>
      </p:sp>
      <p:sp>
        <p:nvSpPr>
          <p:cNvPr id="6" name="Sous-titre 5">
            <a:extLst>
              <a:ext uri="{FF2B5EF4-FFF2-40B4-BE49-F238E27FC236}">
                <a16:creationId xmlns:a16="http://schemas.microsoft.com/office/drawing/2014/main" id="{F3A07C57-4DA0-C875-F339-EE20C9026D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23792" y="3498685"/>
            <a:ext cx="6444208" cy="410433"/>
          </a:xfrm>
        </p:spPr>
        <p:txBody>
          <a:bodyPr/>
          <a:lstStyle/>
          <a:p>
            <a:pPr algn="ctr"/>
            <a:r>
              <a:rPr lang="fr-FR" dirty="0"/>
              <a:t>Webinaire de présenta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6C91770-8F04-CE75-E9BA-0E2F2EE705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28048" y="4878621"/>
            <a:ext cx="1984220" cy="225767"/>
          </a:xfrm>
        </p:spPr>
        <p:txBody>
          <a:bodyPr/>
          <a:lstStyle/>
          <a:p>
            <a:pPr algn="ctr"/>
            <a:r>
              <a:rPr lang="fr-FR" sz="1467" dirty="0"/>
              <a:t>18 juillet 2024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1A95D3F0-655F-423A-FA68-CE5B8DA9C9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55926" y="5889226"/>
            <a:ext cx="5212073" cy="369332"/>
          </a:xfrm>
        </p:spPr>
        <p:txBody>
          <a:bodyPr/>
          <a:lstStyle/>
          <a:p>
            <a:r>
              <a:rPr lang="fr-FR" b="0" i="1" dirty="0">
                <a:solidFill>
                  <a:schemeClr val="bg1">
                    <a:lumMod val="65000"/>
                  </a:schemeClr>
                </a:solidFill>
              </a:rPr>
              <a:t>Dispositif de Remontée Unifié et Intégré des Données des Établissements de Santé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652FFF37-E4F2-CCDD-DA14-F1A3C131E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9183" y="5818485"/>
            <a:ext cx="1346744" cy="47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953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C3B48A3D-6D60-52F5-2556-32D585DD7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é-requis</a:t>
            </a:r>
            <a:r>
              <a:rPr lang="fr-FR" dirty="0"/>
              <a:t> de DRUIDE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AAAF4AE-61F3-54B4-9150-278D9972B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F744116-32EC-C73D-41D7-C339677E4BF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6789A76-3259-AF43-CE24-C166241F23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" y="18781"/>
            <a:ext cx="7650199" cy="420466"/>
          </a:xfrm>
        </p:spPr>
        <p:txBody>
          <a:bodyPr/>
          <a:lstStyle/>
          <a:p>
            <a:r>
              <a:rPr lang="fr-FR" dirty="0" err="1"/>
              <a:t>Pré-requis</a:t>
            </a:r>
            <a:r>
              <a:rPr lang="fr-FR" dirty="0"/>
              <a:t>, points d’attention et déroulé de la phase de tests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750FB00-F6A1-F811-BF41-1F9D60985C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0797"/>
            <a:ext cx="12192000" cy="4861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0692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B998587-6B11-9341-A4C6-633E2035A649}"/>
              </a:ext>
            </a:extLst>
          </p:cNvPr>
          <p:cNvSpPr/>
          <p:nvPr/>
        </p:nvSpPr>
        <p:spPr>
          <a:xfrm>
            <a:off x="119336" y="1916832"/>
            <a:ext cx="8352928" cy="1512168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3B48A3D-6D60-52F5-2556-32D585DD7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ré-requis</a:t>
            </a:r>
            <a:r>
              <a:rPr lang="fr-FR" dirty="0"/>
              <a:t> de DRUIDE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AAAF4AE-61F3-54B4-9150-278D9972B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F744116-32EC-C73D-41D7-C339677E4BF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59496" y="2348880"/>
            <a:ext cx="8760792" cy="697627"/>
          </a:xfrm>
        </p:spPr>
        <p:txBody>
          <a:bodyPr/>
          <a:lstStyle/>
          <a:p>
            <a:r>
              <a:rPr lang="fr-FR" dirty="0"/>
              <a:t>Pendant la période tests : </a:t>
            </a:r>
          </a:p>
          <a:p>
            <a:pPr lvl="3"/>
            <a:r>
              <a:rPr lang="fr-FR" dirty="0"/>
              <a:t>Autorisation de </a:t>
            </a:r>
            <a:r>
              <a:rPr lang="fr-FR" sz="1800" u="sng" dirty="0">
                <a:solidFill>
                  <a:srgbClr val="467886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2"/>
              </a:rPr>
              <a:t>https://valid-epmsi.atih.sante.fr/</a:t>
            </a:r>
            <a:r>
              <a:rPr lang="fr-FR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également nécessai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6789A76-3259-AF43-CE24-C166241F23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" y="18781"/>
            <a:ext cx="7650199" cy="420466"/>
          </a:xfrm>
        </p:spPr>
        <p:txBody>
          <a:bodyPr/>
          <a:lstStyle/>
          <a:p>
            <a:r>
              <a:rPr lang="fr-FR" dirty="0" err="1"/>
              <a:t>Pré-requis</a:t>
            </a:r>
            <a:r>
              <a:rPr lang="fr-FR" dirty="0"/>
              <a:t>, points d’attention et déroulé de la phase de tests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750FB00-F6A1-F811-BF41-1F9D60985C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4806"/>
          <a:stretch/>
        </p:blipFill>
        <p:spPr>
          <a:xfrm>
            <a:off x="9120336" y="1160797"/>
            <a:ext cx="3071664" cy="4861992"/>
          </a:xfrm>
          <a:prstGeom prst="rect">
            <a:avLst/>
          </a:prstGeom>
        </p:spPr>
      </p:pic>
      <p:pic>
        <p:nvPicPr>
          <p:cNvPr id="3" name="Image 2" descr="Une image contenant Panneau de signalisation&#10;&#10;Description générée automatiquement">
            <a:extLst>
              <a:ext uri="{FF2B5EF4-FFF2-40B4-BE49-F238E27FC236}">
                <a16:creationId xmlns:a16="http://schemas.microsoft.com/office/drawing/2014/main" id="{1C9EFF40-AA93-AB48-8DB2-6BC35792F0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2020118"/>
            <a:ext cx="1089018" cy="108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1068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128B6-B083-6E2F-15A8-EDDA4DECE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roulé de la phase de tests SMR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AF2BA37-0349-1FDD-02D0-0035AA5454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6F3A11F-BBE8-5442-69E8-FCFFE8B13A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8"/>
            <a:ext cx="10083800" cy="3282950"/>
          </a:xfrm>
        </p:spPr>
        <p:txBody>
          <a:bodyPr/>
          <a:lstStyle/>
          <a:p>
            <a:r>
              <a:rPr lang="fr-FR" dirty="0"/>
              <a:t>Objectifs </a:t>
            </a:r>
          </a:p>
          <a:p>
            <a:pPr lvl="3"/>
            <a:r>
              <a:rPr lang="fr-FR" dirty="0"/>
              <a:t>Appropriation de l’outil pour l’ensemble des établissements SMR</a:t>
            </a:r>
          </a:p>
          <a:p>
            <a:pPr lvl="3"/>
            <a:endParaRPr lang="fr-FR" dirty="0"/>
          </a:p>
          <a:p>
            <a:pPr lvl="3"/>
            <a:r>
              <a:rPr lang="fr-FR" dirty="0"/>
              <a:t>Anticiper les éventuelles adaptations d’organisation et matériel</a:t>
            </a:r>
          </a:p>
          <a:p>
            <a:pPr lvl="4"/>
            <a:r>
              <a:rPr lang="fr-FR" dirty="0"/>
              <a:t>Fichiers (</a:t>
            </a:r>
            <a:r>
              <a:rPr lang="fr-FR" dirty="0" err="1"/>
              <a:t>Fichcomp</a:t>
            </a:r>
            <a:r>
              <a:rPr lang="fr-FR" dirty="0"/>
              <a:t> Med)</a:t>
            </a:r>
          </a:p>
          <a:p>
            <a:pPr lvl="4"/>
            <a:r>
              <a:rPr lang="fr-FR" dirty="0"/>
              <a:t>Capacité de stockage : Disque dur / VM</a:t>
            </a:r>
          </a:p>
          <a:p>
            <a:pPr lvl="4"/>
            <a:r>
              <a:rPr lang="fr-FR" dirty="0"/>
              <a:t>Paramétrage du pare-feu du SIH / Gestion des droits utilisateurs</a:t>
            </a:r>
          </a:p>
          <a:p>
            <a:pPr lvl="4"/>
            <a:r>
              <a:rPr lang="fr-FR" dirty="0"/>
              <a:t>Exploitation des logs</a:t>
            </a:r>
          </a:p>
          <a:p>
            <a:pPr lvl="4"/>
            <a:endParaRPr lang="fr-FR" dirty="0"/>
          </a:p>
          <a:p>
            <a:pPr lvl="3"/>
            <a:r>
              <a:rPr lang="fr-FR" dirty="0"/>
              <a:t>Phase de tests « grandeur nature »</a:t>
            </a:r>
          </a:p>
          <a:p>
            <a:pPr lvl="4"/>
            <a:r>
              <a:rPr lang="fr-FR" dirty="0"/>
              <a:t>Eventuels bug non détectés durant les phases de tests précédentes</a:t>
            </a:r>
          </a:p>
          <a:p>
            <a:pPr lvl="4"/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65E60E3-E624-D8A5-5880-7F5AAA7DE2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" y="18781"/>
            <a:ext cx="7650199" cy="420466"/>
          </a:xfrm>
        </p:spPr>
        <p:txBody>
          <a:bodyPr/>
          <a:lstStyle/>
          <a:p>
            <a:r>
              <a:rPr lang="fr-FR" dirty="0" err="1"/>
              <a:t>Pré-requis</a:t>
            </a:r>
            <a:r>
              <a:rPr lang="fr-FR" dirty="0"/>
              <a:t>, points d’attention et déroulé de la phase de tests</a:t>
            </a:r>
          </a:p>
        </p:txBody>
      </p:sp>
    </p:spTree>
    <p:extLst>
      <p:ext uri="{BB962C8B-B14F-4D97-AF65-F5344CB8AC3E}">
        <p14:creationId xmlns:p14="http://schemas.microsoft.com/office/powerpoint/2010/main" val="13739640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128B6-B083-6E2F-15A8-EDDA4DECE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roulé de la phase de tests SMR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AF2BA37-0349-1FDD-02D0-0035AA5454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6F3A11F-BBE8-5442-69E8-FCFFE8B13A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8"/>
            <a:ext cx="10083800" cy="3529171"/>
          </a:xfrm>
        </p:spPr>
        <p:txBody>
          <a:bodyPr/>
          <a:lstStyle/>
          <a:p>
            <a:r>
              <a:rPr lang="fr-FR" dirty="0"/>
              <a:t>Durée de la phase de tests</a:t>
            </a:r>
          </a:p>
          <a:p>
            <a:pPr lvl="3"/>
            <a:r>
              <a:rPr lang="fr-FR" dirty="0"/>
              <a:t>De la semaine du 15 juillet 2024 jusqu’à fin Aout / début septembre 2024</a:t>
            </a:r>
          </a:p>
          <a:p>
            <a:pPr lvl="3"/>
            <a:endParaRPr lang="fr-FR" dirty="0"/>
          </a:p>
          <a:p>
            <a:pPr lvl="3"/>
            <a:r>
              <a:rPr lang="fr-FR" dirty="0"/>
              <a:t>Version Druides </a:t>
            </a:r>
            <a:r>
              <a:rPr lang="fr-FR" b="1" dirty="0"/>
              <a:t>2024.0.</a:t>
            </a:r>
            <a:r>
              <a:rPr lang="fr-FR" dirty="0"/>
              <a:t>10.0</a:t>
            </a:r>
            <a:r>
              <a:rPr lang="fr-FR" b="1" dirty="0"/>
              <a:t> ou supérieure </a:t>
            </a:r>
            <a:r>
              <a:rPr lang="fr-FR" dirty="0"/>
              <a:t>(2024.0.xx.x)</a:t>
            </a:r>
          </a:p>
          <a:p>
            <a:pPr lvl="4"/>
            <a:r>
              <a:rPr lang="fr-FR" b="1" dirty="0"/>
              <a:t>Période M5 à M7 2024</a:t>
            </a:r>
            <a:r>
              <a:rPr lang="fr-FR" dirty="0"/>
              <a:t> peuvent être utilisées</a:t>
            </a:r>
          </a:p>
          <a:p>
            <a:pPr lvl="4"/>
            <a:r>
              <a:rPr lang="fr-FR" dirty="0"/>
              <a:t>Disponible sur l’espace de téléchargement : </a:t>
            </a:r>
          </a:p>
          <a:p>
            <a:pPr marL="1055974" lvl="5" indent="0">
              <a:buNone/>
            </a:pPr>
            <a:r>
              <a:rPr lang="fr-FR" i="0" dirty="0">
                <a:hlinkClick r:id="rId2"/>
              </a:rPr>
              <a:t>https://www.atih.sante.fr/plateformes-de-transmission-et-logiciels/logiciels-espace-de-telechargement#D</a:t>
            </a:r>
            <a:r>
              <a:rPr lang="fr-FR" i="0" dirty="0"/>
              <a:t> </a:t>
            </a:r>
          </a:p>
          <a:p>
            <a:pPr lvl="4"/>
            <a:endParaRPr lang="fr-FR" dirty="0"/>
          </a:p>
          <a:p>
            <a:pPr lvl="3"/>
            <a:r>
              <a:rPr lang="fr-FR" b="1" dirty="0"/>
              <a:t>Support pendant cette phase de test</a:t>
            </a:r>
          </a:p>
          <a:p>
            <a:pPr lvl="4"/>
            <a:r>
              <a:rPr lang="fr-FR" dirty="0"/>
              <a:t>Thème Agora dédié :</a:t>
            </a:r>
          </a:p>
          <a:p>
            <a:pPr marL="527987" lvl="4" indent="0">
              <a:buNone/>
            </a:pPr>
            <a:r>
              <a:rPr lang="fr-FR" dirty="0">
                <a:hlinkClick r:id="rId3"/>
              </a:rPr>
              <a:t>https://agora.atih.sante.fr/agora/ago_theme.do?idTheme=939</a:t>
            </a:r>
            <a:r>
              <a:rPr lang="fr-FR" dirty="0"/>
              <a:t> </a:t>
            </a:r>
          </a:p>
          <a:p>
            <a:pPr lvl="4"/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65E60E3-E624-D8A5-5880-7F5AAA7DE2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" y="18781"/>
            <a:ext cx="7650199" cy="420466"/>
          </a:xfrm>
        </p:spPr>
        <p:txBody>
          <a:bodyPr/>
          <a:lstStyle/>
          <a:p>
            <a:r>
              <a:rPr lang="fr-FR" dirty="0" err="1"/>
              <a:t>Pré-requis</a:t>
            </a:r>
            <a:r>
              <a:rPr lang="fr-FR" dirty="0"/>
              <a:t>, points d’attention et déroulé de la phase de test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CF789A8-C06A-FB79-0D5E-F802E988F5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835" y="4549260"/>
            <a:ext cx="2880320" cy="154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5055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 29">
            <a:extLst>
              <a:ext uri="{FF2B5EF4-FFF2-40B4-BE49-F238E27FC236}">
                <a16:creationId xmlns:a16="http://schemas.microsoft.com/office/drawing/2014/main" id="{4BC5223C-A86D-5DCC-04E4-27E319944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4232" y="3985363"/>
            <a:ext cx="2105876" cy="2467973"/>
          </a:xfrm>
          <a:prstGeom prst="rect">
            <a:avLst/>
          </a:prstGeom>
        </p:spPr>
      </p:pic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6F3A11F-BBE8-5442-69E8-FCFFE8B13A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370277"/>
            <a:ext cx="10468024" cy="2569934"/>
          </a:xfrm>
        </p:spPr>
        <p:txBody>
          <a:bodyPr/>
          <a:lstStyle/>
          <a:p>
            <a:r>
              <a:rPr lang="fr-FR" dirty="0"/>
              <a:t>Durée de la phase de tests</a:t>
            </a:r>
          </a:p>
          <a:p>
            <a:pPr lvl="3"/>
            <a:r>
              <a:rPr lang="fr-FR" dirty="0"/>
              <a:t>A terme il n’y aura qu’</a:t>
            </a:r>
            <a:r>
              <a:rPr lang="fr-FR" b="1" dirty="0"/>
              <a:t>un outil </a:t>
            </a:r>
            <a:r>
              <a:rPr lang="fr-FR" dirty="0"/>
              <a:t>(MCO et SMR). Pour les tests, une version spécifique de DRUIDES est à installer.</a:t>
            </a:r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3"/>
            <a:endParaRPr lang="fr-FR" sz="1100" dirty="0"/>
          </a:p>
          <a:p>
            <a:pPr lvl="3"/>
            <a:r>
              <a:rPr lang="fr-FR" dirty="0"/>
              <a:t>Il y un </a:t>
            </a:r>
            <a:r>
              <a:rPr lang="fr-FR" b="1" dirty="0"/>
              <a:t>raccourci spécifique</a:t>
            </a:r>
            <a:r>
              <a:rPr lang="fr-FR" dirty="0"/>
              <a:t>, mais les </a:t>
            </a:r>
            <a:r>
              <a:rPr lang="fr-FR" b="1" dirty="0"/>
              <a:t>préférences utilisateurs</a:t>
            </a:r>
            <a:r>
              <a:rPr lang="fr-FR" dirty="0"/>
              <a:t> et les </a:t>
            </a:r>
            <a:r>
              <a:rPr lang="fr-FR" b="1" dirty="0"/>
              <a:t>répertoires de travail/sauvegarde</a:t>
            </a:r>
            <a:r>
              <a:rPr lang="fr-FR" dirty="0"/>
              <a:t> restent les mêmes entre la version test et la version de prod (MCO)</a:t>
            </a:r>
          </a:p>
          <a:p>
            <a:pPr lvl="3"/>
            <a:r>
              <a:rPr lang="fr-FR" b="1" dirty="0"/>
              <a:t>ATTENTION :</a:t>
            </a:r>
            <a:r>
              <a:rPr lang="fr-FR" dirty="0"/>
              <a:t> Ne pas tester DRUIDES SMR et faire un export MCO en même temps</a:t>
            </a:r>
          </a:p>
          <a:p>
            <a:pPr lvl="4"/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E95C68-9DBB-FBA9-828F-C4EEBFD80748}"/>
              </a:ext>
            </a:extLst>
          </p:cNvPr>
          <p:cNvSpPr/>
          <p:nvPr/>
        </p:nvSpPr>
        <p:spPr>
          <a:xfrm>
            <a:off x="1582250" y="2087963"/>
            <a:ext cx="6840760" cy="645774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77128B6-B083-6E2F-15A8-EDDA4DECE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roulé de la phase de tests SMR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AF2BA37-0349-1FDD-02D0-0035AA5454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DRUIDES - </a:t>
            </a:r>
            <a:r>
              <a:rPr lang="fr-FR" dirty="0" err="1"/>
              <a:t>Wébinaire</a:t>
            </a:r>
            <a:r>
              <a:rPr lang="fr-FR" dirty="0"/>
              <a:t> déploiement SMR - 18/07/24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65E60E3-E624-D8A5-5880-7F5AAA7DE2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" y="18781"/>
            <a:ext cx="7650199" cy="420466"/>
          </a:xfrm>
        </p:spPr>
        <p:txBody>
          <a:bodyPr/>
          <a:lstStyle/>
          <a:p>
            <a:r>
              <a:rPr lang="fr-FR" dirty="0" err="1"/>
              <a:t>Pré-requis</a:t>
            </a:r>
            <a:r>
              <a:rPr lang="fr-FR" dirty="0"/>
              <a:t>, points d’attention et déroulé de la phase de tests</a:t>
            </a:r>
          </a:p>
        </p:txBody>
      </p:sp>
      <p:pic>
        <p:nvPicPr>
          <p:cNvPr id="8" name="Image 7" descr="Une image contenant Panneau de signalisation&#10;&#10;Description générée automatiquement">
            <a:extLst>
              <a:ext uri="{FF2B5EF4-FFF2-40B4-BE49-F238E27FC236}">
                <a16:creationId xmlns:a16="http://schemas.microsoft.com/office/drawing/2014/main" id="{462201D1-68B5-BFD0-A455-8EA7688B2E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730" y="2139131"/>
            <a:ext cx="470691" cy="470691"/>
          </a:xfrm>
          <a:prstGeom prst="rect">
            <a:avLst/>
          </a:prstGeom>
        </p:spPr>
      </p:pic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D586FCD1-6EE8-FFBD-8274-39A5168F41ED}"/>
              </a:ext>
            </a:extLst>
          </p:cNvPr>
          <p:cNvSpPr txBox="1">
            <a:spLocks/>
          </p:cNvSpPr>
          <p:nvPr/>
        </p:nvSpPr>
        <p:spPr>
          <a:xfrm>
            <a:off x="2217901" y="2235978"/>
            <a:ext cx="10083800" cy="276999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533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9988" indent="0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Tx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91995" indent="-191995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982" indent="-191995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Montserrat Medium" panose="00000600000000000000" pitchFamily="2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9970" indent="-143996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dirty="0"/>
              <a:t>Pensez à désinstaller la version test à l’issue des tests</a:t>
            </a:r>
          </a:p>
        </p:txBody>
      </p:sp>
      <p:sp>
        <p:nvSpPr>
          <p:cNvPr id="12" name="Flèche : droite 11">
            <a:extLst>
              <a:ext uri="{FF2B5EF4-FFF2-40B4-BE49-F238E27FC236}">
                <a16:creationId xmlns:a16="http://schemas.microsoft.com/office/drawing/2014/main" id="{6AF9199F-E0DE-04C7-7896-4D36023FB7AF}"/>
              </a:ext>
            </a:extLst>
          </p:cNvPr>
          <p:cNvSpPr/>
          <p:nvPr/>
        </p:nvSpPr>
        <p:spPr>
          <a:xfrm rot="10800000">
            <a:off x="7496380" y="4206931"/>
            <a:ext cx="720080" cy="311386"/>
          </a:xfrm>
          <a:prstGeom prst="rightArrow">
            <a:avLst/>
          </a:prstGeom>
          <a:solidFill>
            <a:schemeClr val="bg1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lèche : droite 12">
            <a:extLst>
              <a:ext uri="{FF2B5EF4-FFF2-40B4-BE49-F238E27FC236}">
                <a16:creationId xmlns:a16="http://schemas.microsoft.com/office/drawing/2014/main" id="{9AEED458-D928-F0F7-AB2E-094A995730E5}"/>
              </a:ext>
            </a:extLst>
          </p:cNvPr>
          <p:cNvSpPr/>
          <p:nvPr/>
        </p:nvSpPr>
        <p:spPr>
          <a:xfrm>
            <a:off x="10102334" y="4214338"/>
            <a:ext cx="566588" cy="311386"/>
          </a:xfrm>
          <a:prstGeom prst="rightArrow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99D332B-DAE7-76D1-3B99-2EDE8A2A97A1}"/>
              </a:ext>
            </a:extLst>
          </p:cNvPr>
          <p:cNvSpPr txBox="1"/>
          <p:nvPr/>
        </p:nvSpPr>
        <p:spPr>
          <a:xfrm>
            <a:off x="6409753" y="4134398"/>
            <a:ext cx="1224136" cy="430887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r>
              <a:rPr lang="fr-FR" sz="1400" dirty="0">
                <a:solidFill>
                  <a:schemeClr val="accent4">
                    <a:lumMod val="50000"/>
                  </a:schemeClr>
                </a:solidFill>
              </a:rPr>
              <a:t>Version de prod (MCO)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D58B6AB-F8D4-06AB-0A2B-DF94D1F193E0}"/>
              </a:ext>
            </a:extLst>
          </p:cNvPr>
          <p:cNvSpPr txBox="1"/>
          <p:nvPr/>
        </p:nvSpPr>
        <p:spPr>
          <a:xfrm>
            <a:off x="10625291" y="5326641"/>
            <a:ext cx="1395665" cy="861774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fr-FR" sz="1400" dirty="0">
                <a:solidFill>
                  <a:srgbClr val="00B050"/>
                </a:solidFill>
              </a:rPr>
              <a:t>Communique avec une version test d’e-PMSI</a:t>
            </a:r>
          </a:p>
        </p:txBody>
      </p:sp>
      <p:sp>
        <p:nvSpPr>
          <p:cNvPr id="22" name="Flèche : droite 21">
            <a:extLst>
              <a:ext uri="{FF2B5EF4-FFF2-40B4-BE49-F238E27FC236}">
                <a16:creationId xmlns:a16="http://schemas.microsoft.com/office/drawing/2014/main" id="{2BDD76D8-8F62-ED59-8374-C1B2E3CFA606}"/>
              </a:ext>
            </a:extLst>
          </p:cNvPr>
          <p:cNvSpPr/>
          <p:nvPr/>
        </p:nvSpPr>
        <p:spPr>
          <a:xfrm rot="10017465" flipV="1">
            <a:off x="7510546" y="5432360"/>
            <a:ext cx="720080" cy="208846"/>
          </a:xfrm>
          <a:prstGeom prst="rightArrow">
            <a:avLst/>
          </a:prstGeom>
          <a:solidFill>
            <a:schemeClr val="bg1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FD653A82-0DB6-A128-7B47-5CCACB5AC3F0}"/>
              </a:ext>
            </a:extLst>
          </p:cNvPr>
          <p:cNvSpPr txBox="1"/>
          <p:nvPr/>
        </p:nvSpPr>
        <p:spPr>
          <a:xfrm>
            <a:off x="6406304" y="5485874"/>
            <a:ext cx="1224136" cy="430887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r>
              <a:rPr lang="fr-FR" sz="1400" dirty="0">
                <a:solidFill>
                  <a:schemeClr val="accent4">
                    <a:lumMod val="50000"/>
                  </a:schemeClr>
                </a:solidFill>
              </a:rPr>
              <a:t>Versions de prod (SMR)</a:t>
            </a:r>
          </a:p>
        </p:txBody>
      </p:sp>
      <p:sp>
        <p:nvSpPr>
          <p:cNvPr id="24" name="Flèche : droite 23">
            <a:extLst>
              <a:ext uri="{FF2B5EF4-FFF2-40B4-BE49-F238E27FC236}">
                <a16:creationId xmlns:a16="http://schemas.microsoft.com/office/drawing/2014/main" id="{FEA4EE10-D693-BDA3-F1BC-6B90C83BD24E}"/>
              </a:ext>
            </a:extLst>
          </p:cNvPr>
          <p:cNvSpPr/>
          <p:nvPr/>
        </p:nvSpPr>
        <p:spPr>
          <a:xfrm rot="11250068" flipV="1">
            <a:off x="7525609" y="5812338"/>
            <a:ext cx="720080" cy="208846"/>
          </a:xfrm>
          <a:prstGeom prst="rightArrow">
            <a:avLst/>
          </a:prstGeom>
          <a:solidFill>
            <a:schemeClr val="bg1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Espace réservé du texte 3">
            <a:extLst>
              <a:ext uri="{FF2B5EF4-FFF2-40B4-BE49-F238E27FC236}">
                <a16:creationId xmlns:a16="http://schemas.microsoft.com/office/drawing/2014/main" id="{B98B7691-DF50-67F0-B1DF-E65205A34C5A}"/>
              </a:ext>
            </a:extLst>
          </p:cNvPr>
          <p:cNvSpPr txBox="1">
            <a:spLocks/>
          </p:cNvSpPr>
          <p:nvPr/>
        </p:nvSpPr>
        <p:spPr>
          <a:xfrm>
            <a:off x="1244600" y="3678394"/>
            <a:ext cx="4059312" cy="2595582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533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9988" indent="0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Tx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91995" indent="-191995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982" indent="-191995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Montserrat Medium" panose="00000600000000000000" pitchFamily="2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9970" indent="-143996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Pendant la phase de tests :</a:t>
            </a:r>
          </a:p>
          <a:p>
            <a:pPr lvl="1"/>
            <a:r>
              <a:rPr lang="fr-FR" dirty="0"/>
              <a:t>Les traitements que vous ferez sur la version tests SMR de DRUIDES n’impacteront pas vos dépôts M6 et M7</a:t>
            </a:r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r>
              <a:rPr lang="fr-FR" dirty="0"/>
              <a:t>Pour le M6 et M7 2024 vous devez continuer à utiliser les outils classiques (DRUIDES MCO, </a:t>
            </a:r>
            <a:r>
              <a:rPr lang="fr-FR" dirty="0" err="1"/>
              <a:t>GenRHA</a:t>
            </a:r>
            <a:r>
              <a:rPr lang="fr-FR" dirty="0"/>
              <a:t>, </a:t>
            </a:r>
            <a:r>
              <a:rPr lang="fr-FR" dirty="0" err="1"/>
              <a:t>Agraf</a:t>
            </a:r>
            <a:r>
              <a:rPr lang="fr-FR" dirty="0"/>
              <a:t>, …)</a:t>
            </a:r>
          </a:p>
        </p:txBody>
      </p:sp>
      <p:sp>
        <p:nvSpPr>
          <p:cNvPr id="26" name="Flèche : droite 25">
            <a:extLst>
              <a:ext uri="{FF2B5EF4-FFF2-40B4-BE49-F238E27FC236}">
                <a16:creationId xmlns:a16="http://schemas.microsoft.com/office/drawing/2014/main" id="{22F19344-F705-D2CA-03BE-1DC4C9AC1AEF}"/>
              </a:ext>
            </a:extLst>
          </p:cNvPr>
          <p:cNvSpPr/>
          <p:nvPr/>
        </p:nvSpPr>
        <p:spPr>
          <a:xfrm rot="8961344" flipV="1">
            <a:off x="5680888" y="4679050"/>
            <a:ext cx="720080" cy="231758"/>
          </a:xfrm>
          <a:prstGeom prst="rightArrow">
            <a:avLst/>
          </a:prstGeom>
          <a:solidFill>
            <a:schemeClr val="bg1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Flèche : droite 26">
            <a:extLst>
              <a:ext uri="{FF2B5EF4-FFF2-40B4-BE49-F238E27FC236}">
                <a16:creationId xmlns:a16="http://schemas.microsoft.com/office/drawing/2014/main" id="{F5066009-EDBE-D2C0-5083-C250DC05C68C}"/>
              </a:ext>
            </a:extLst>
          </p:cNvPr>
          <p:cNvSpPr/>
          <p:nvPr/>
        </p:nvSpPr>
        <p:spPr>
          <a:xfrm rot="12079242" flipV="1">
            <a:off x="5672899" y="5392609"/>
            <a:ext cx="720080" cy="208846"/>
          </a:xfrm>
          <a:prstGeom prst="rightArrow">
            <a:avLst/>
          </a:prstGeom>
          <a:solidFill>
            <a:schemeClr val="bg1"/>
          </a:solidFill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6D3E3A44-5314-49B9-A90B-68F28F3C750F}"/>
              </a:ext>
            </a:extLst>
          </p:cNvPr>
          <p:cNvSpPr txBox="1"/>
          <p:nvPr/>
        </p:nvSpPr>
        <p:spPr>
          <a:xfrm>
            <a:off x="4322451" y="5014337"/>
            <a:ext cx="1629533" cy="430887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fr-FR" sz="1400" dirty="0">
                <a:solidFill>
                  <a:schemeClr val="accent4">
                    <a:lumMod val="50000"/>
                  </a:schemeClr>
                </a:solidFill>
              </a:rPr>
              <a:t>Communiquent avec e-PMSI</a:t>
            </a:r>
          </a:p>
        </p:txBody>
      </p:sp>
      <p:sp>
        <p:nvSpPr>
          <p:cNvPr id="31" name="Flèche : droite 30">
            <a:extLst>
              <a:ext uri="{FF2B5EF4-FFF2-40B4-BE49-F238E27FC236}">
                <a16:creationId xmlns:a16="http://schemas.microsoft.com/office/drawing/2014/main" id="{77187CFC-A752-8B53-366E-A41B677FFF7F}"/>
              </a:ext>
            </a:extLst>
          </p:cNvPr>
          <p:cNvSpPr/>
          <p:nvPr/>
        </p:nvSpPr>
        <p:spPr>
          <a:xfrm rot="5400000">
            <a:off x="10997695" y="4805735"/>
            <a:ext cx="566588" cy="311386"/>
          </a:xfrm>
          <a:prstGeom prst="rightArrow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343E532-8F75-AA4D-99D7-457A4D38A443}"/>
              </a:ext>
            </a:extLst>
          </p:cNvPr>
          <p:cNvSpPr txBox="1"/>
          <p:nvPr/>
        </p:nvSpPr>
        <p:spPr>
          <a:xfrm>
            <a:off x="10668921" y="4164706"/>
            <a:ext cx="1224136" cy="430887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fr-FR" sz="1400" dirty="0">
                <a:solidFill>
                  <a:srgbClr val="00B050"/>
                </a:solidFill>
              </a:rPr>
              <a:t>Version de tests (SMR)</a:t>
            </a:r>
          </a:p>
        </p:txBody>
      </p:sp>
    </p:spTree>
    <p:extLst>
      <p:ext uri="{BB962C8B-B14F-4D97-AF65-F5344CB8AC3E}">
        <p14:creationId xmlns:p14="http://schemas.microsoft.com/office/powerpoint/2010/main" val="425348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/>
      <p:bldP spid="15" grpId="0"/>
      <p:bldP spid="22" grpId="0" animBg="1"/>
      <p:bldP spid="23" grpId="0"/>
      <p:bldP spid="24" grpId="0" animBg="1"/>
      <p:bldP spid="25" grpId="0"/>
      <p:bldP spid="26" grpId="0" animBg="1"/>
      <p:bldP spid="27" grpId="0" animBg="1"/>
      <p:bldP spid="28" grpId="0"/>
      <p:bldP spid="31" grpId="0" animBg="1"/>
      <p:bldP spid="3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A151718-9798-DCA7-B161-819B10C05CCB}"/>
              </a:ext>
            </a:extLst>
          </p:cNvPr>
          <p:cNvSpPr/>
          <p:nvPr/>
        </p:nvSpPr>
        <p:spPr>
          <a:xfrm>
            <a:off x="7464152" y="1331476"/>
            <a:ext cx="3312368" cy="369332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F77F2DC-6BA1-982C-EBB2-26E7D695B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340768"/>
            <a:ext cx="10083800" cy="4801314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 dirty="0"/>
              <a:t>DRUIDES n’acceptera en entrée que des RHS au format groupé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 dirty="0"/>
              <a:t>Les contrôles dans DRUIDES sont plus nombreux et certaines données qui sont non valorisées dans OVALIDE, sont maintenant rejetées par DRUIDES (ex : FICHCOMP Transport)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BFB9823-3E7B-DBBD-7B44-F2ECB9052D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oints d’attention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6E613E8-6F5C-1CBF-869B-46FBEC578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C229D15-9EB7-4CA6-CE21-955DDCD638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" y="18781"/>
            <a:ext cx="7650199" cy="420466"/>
          </a:xfrm>
        </p:spPr>
        <p:txBody>
          <a:bodyPr/>
          <a:lstStyle/>
          <a:p>
            <a:r>
              <a:rPr lang="fr-FR" dirty="0" err="1"/>
              <a:t>Pré-requis</a:t>
            </a:r>
            <a:r>
              <a:rPr lang="fr-FR" dirty="0"/>
              <a:t>, points d’attention et déroulé de la phase de tests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EA0E06AC-82CD-3EC2-976B-0A9303F5E1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7690" y="2243960"/>
            <a:ext cx="5697390" cy="2526201"/>
          </a:xfrm>
          <a:prstGeom prst="rect">
            <a:avLst/>
          </a:prstGeom>
        </p:spPr>
      </p:pic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E10BA320-47E3-25CC-752D-0C7C999D0B0C}"/>
              </a:ext>
            </a:extLst>
          </p:cNvPr>
          <p:cNvSpPr txBox="1">
            <a:spLocks/>
          </p:cNvSpPr>
          <p:nvPr/>
        </p:nvSpPr>
        <p:spPr>
          <a:xfrm>
            <a:off x="1235284" y="2245381"/>
            <a:ext cx="4802406" cy="2526333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533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9988" indent="0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Tx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91995" indent="-191995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982" indent="-191995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Montserrat Medium" panose="00000600000000000000" pitchFamily="2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9970" indent="-143996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 dirty="0"/>
              <a:t>Le Format des fichiers en entrée doit absolument faire la taille spécifiée dans les formats, même si le fichier se termine par des espaces avec un filler</a:t>
            </a:r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3591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06634A-C0CA-576B-A67B-F826940A6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781" y="1268760"/>
            <a:ext cx="7200000" cy="512961"/>
          </a:xfrm>
        </p:spPr>
        <p:txBody>
          <a:bodyPr/>
          <a:lstStyle/>
          <a:p>
            <a:r>
              <a:rPr lang="fr-FR" dirty="0"/>
              <a:t>Déroulé du webin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43DF9B3-3BD2-2360-7377-D0C167727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7781" y="2084850"/>
            <a:ext cx="7200000" cy="4691028"/>
          </a:xfrm>
        </p:spPr>
        <p:txBody>
          <a:bodyPr/>
          <a:lstStyle/>
          <a:p>
            <a:r>
              <a:rPr lang="fr-FR" b="0" dirty="0"/>
              <a:t>Feuille de route DRUIDES</a:t>
            </a:r>
          </a:p>
          <a:p>
            <a:r>
              <a:rPr lang="fr-FR" b="0" dirty="0" err="1"/>
              <a:t>Pré-requis</a:t>
            </a:r>
            <a:r>
              <a:rPr lang="fr-FR" b="0" dirty="0"/>
              <a:t>, points d’attention et déroulé de la phase de tests</a:t>
            </a:r>
          </a:p>
          <a:p>
            <a:r>
              <a:rPr lang="fr-FR" dirty="0"/>
              <a:t>Présentation générale de DRUIDES et des évolutions (concerne également le MCO)</a:t>
            </a:r>
          </a:p>
          <a:p>
            <a:r>
              <a:rPr lang="fr-FR" b="0" dirty="0"/>
              <a:t>Présentation des fonctionnalités SMR de DRUIDES</a:t>
            </a:r>
          </a:p>
          <a:p>
            <a:r>
              <a:rPr lang="fr-FR" b="0" dirty="0"/>
              <a:t>Quelques messages clés</a:t>
            </a:r>
          </a:p>
          <a:p>
            <a:r>
              <a:rPr lang="fr-FR" b="0" dirty="0"/>
              <a:t>Mise en place </a:t>
            </a:r>
            <a:r>
              <a:rPr lang="fr-FR" b="0" dirty="0" err="1"/>
              <a:t>Vid</a:t>
            </a:r>
            <a:r>
              <a:rPr lang="fr-FR" b="0" dirty="0"/>
              <a:t>-chainage (SMR : Ex-OQN)</a:t>
            </a:r>
          </a:p>
          <a:p>
            <a:r>
              <a:rPr lang="fr-FR" b="0" dirty="0"/>
              <a:t>Questions / réponses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8C4309D-8E36-AC44-1DED-D5811D378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</p:spTree>
    <p:extLst>
      <p:ext uri="{BB962C8B-B14F-4D97-AF65-F5344CB8AC3E}">
        <p14:creationId xmlns:p14="http://schemas.microsoft.com/office/powerpoint/2010/main" val="2388368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D4EB6A2-1B42-2094-2206-432054A43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mpacts sur l’utilisation de DRUIDE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C735437-46CF-9821-3145-4ADB8BA2A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4A8A6CE-6691-8477-82AA-2EF973AD1D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989668"/>
            <a:ext cx="10083800" cy="3877985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 dirty="0"/>
              <a:t>Manuel utilisateur accessible en ligne</a:t>
            </a:r>
          </a:p>
          <a:p>
            <a:pPr lvl="3"/>
            <a:r>
              <a:rPr lang="fr-FR" dirty="0">
                <a:hlinkClick r:id="rId2"/>
              </a:rPr>
              <a:t>https://atih.atlassian.net/wiki/spaces/DocDRUIDES</a:t>
            </a:r>
            <a:r>
              <a:rPr lang="fr-FR" dirty="0"/>
              <a:t>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 dirty="0"/>
              <a:t>Evolution de la charte graphique (couleurs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 dirty="0"/>
              <a:t>Mise à jour automatique optionnelle</a:t>
            </a:r>
          </a:p>
          <a:p>
            <a:pPr lvl="3"/>
            <a:r>
              <a:rPr lang="fr-FR" dirty="0"/>
              <a:t>Le pop-up de mise à jour vous précisera quel champ est concerné par la mise à jour</a:t>
            </a:r>
          </a:p>
          <a:p>
            <a:pPr lvl="3"/>
            <a:r>
              <a:rPr lang="fr-FR" dirty="0"/>
              <a:t>Si vous n’êtes pas concerné, vous pouvez continuer à utiliser l’outil</a:t>
            </a:r>
          </a:p>
          <a:p>
            <a:pPr lvl="3"/>
            <a:r>
              <a:rPr lang="fr-FR" u="sng" dirty="0"/>
              <a:t>Attention :</a:t>
            </a:r>
            <a:r>
              <a:rPr lang="fr-FR" dirty="0"/>
              <a:t> si vous êtes concerné et que vous ne faites pas la mise à jour, la transmission e-PMSI ne sera pas possibl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 dirty="0"/>
              <a:t>Une évolution de l’interface utilisateur a été réalisée afin :</a:t>
            </a:r>
          </a:p>
          <a:p>
            <a:pPr lvl="3"/>
            <a:r>
              <a:rPr lang="fr-FR" dirty="0"/>
              <a:t>De mieux hiérarchiser les boutons</a:t>
            </a:r>
          </a:p>
          <a:p>
            <a:pPr lvl="3"/>
            <a:r>
              <a:rPr lang="fr-FR" dirty="0"/>
              <a:t>De rendre plus explicite certaines fonctionnalités en lien avec la gestion des archiv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B2ACD3D-D460-AEBE-F1F6-50CD71B643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8781"/>
            <a:ext cx="4367807" cy="420466"/>
          </a:xfrm>
        </p:spPr>
        <p:txBody>
          <a:bodyPr/>
          <a:lstStyle/>
          <a:p>
            <a:r>
              <a:rPr lang="fr-FR" dirty="0"/>
              <a:t>Extension de DRUIDES aux SMR</a:t>
            </a:r>
          </a:p>
        </p:txBody>
      </p:sp>
    </p:spTree>
    <p:extLst>
      <p:ext uri="{BB962C8B-B14F-4D97-AF65-F5344CB8AC3E}">
        <p14:creationId xmlns:p14="http://schemas.microsoft.com/office/powerpoint/2010/main" val="24253197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06634A-C0CA-576B-A67B-F826940A6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781" y="1268760"/>
            <a:ext cx="7200000" cy="512961"/>
          </a:xfrm>
        </p:spPr>
        <p:txBody>
          <a:bodyPr/>
          <a:lstStyle/>
          <a:p>
            <a:r>
              <a:rPr lang="fr-FR" dirty="0"/>
              <a:t>Déroulé du webin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43DF9B3-3BD2-2360-7377-D0C167727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7781" y="2084850"/>
            <a:ext cx="7200000" cy="4691028"/>
          </a:xfrm>
        </p:spPr>
        <p:txBody>
          <a:bodyPr/>
          <a:lstStyle/>
          <a:p>
            <a:r>
              <a:rPr lang="fr-FR" b="0" dirty="0"/>
              <a:t>Feuille de route DRUIDES</a:t>
            </a:r>
          </a:p>
          <a:p>
            <a:r>
              <a:rPr lang="fr-FR" b="0" dirty="0" err="1"/>
              <a:t>Pré-requis</a:t>
            </a:r>
            <a:r>
              <a:rPr lang="fr-FR" b="0" dirty="0"/>
              <a:t>, points d’attention et déroulé de la phase de tests</a:t>
            </a:r>
          </a:p>
          <a:p>
            <a:r>
              <a:rPr lang="fr-FR" b="0" dirty="0"/>
              <a:t>Présentation générale de DRUIDES et des évolutions (concerne également le MCO)</a:t>
            </a:r>
          </a:p>
          <a:p>
            <a:r>
              <a:rPr lang="fr-FR" dirty="0"/>
              <a:t>Présentation des fonctionnalités SMR de DRUIDES</a:t>
            </a:r>
          </a:p>
          <a:p>
            <a:r>
              <a:rPr lang="fr-FR" b="0" dirty="0"/>
              <a:t>Quelques messages clés</a:t>
            </a:r>
          </a:p>
          <a:p>
            <a:r>
              <a:rPr lang="fr-FR" b="0" dirty="0"/>
              <a:t>Mise en place </a:t>
            </a:r>
            <a:r>
              <a:rPr lang="fr-FR" b="0" dirty="0" err="1"/>
              <a:t>Vid</a:t>
            </a:r>
            <a:r>
              <a:rPr lang="fr-FR" b="0" dirty="0"/>
              <a:t>-chainage (SMR : Ex-OQN)</a:t>
            </a:r>
          </a:p>
          <a:p>
            <a:r>
              <a:rPr lang="fr-FR" b="0" dirty="0"/>
              <a:t>Questions / réponses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8C4309D-8E36-AC44-1DED-D5811D378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</p:spTree>
    <p:extLst>
      <p:ext uri="{BB962C8B-B14F-4D97-AF65-F5344CB8AC3E}">
        <p14:creationId xmlns:p14="http://schemas.microsoft.com/office/powerpoint/2010/main" val="3749508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06634A-C0CA-576B-A67B-F826940A6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781" y="1268760"/>
            <a:ext cx="7200000" cy="512961"/>
          </a:xfrm>
        </p:spPr>
        <p:txBody>
          <a:bodyPr/>
          <a:lstStyle/>
          <a:p>
            <a:r>
              <a:rPr lang="fr-FR" dirty="0"/>
              <a:t>Déroulé du webin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43DF9B3-3BD2-2360-7377-D0C167727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7781" y="2084850"/>
            <a:ext cx="7200000" cy="4691028"/>
          </a:xfrm>
        </p:spPr>
        <p:txBody>
          <a:bodyPr/>
          <a:lstStyle/>
          <a:p>
            <a:r>
              <a:rPr lang="fr-FR" b="0" dirty="0"/>
              <a:t>Feuille de route DRUIDES</a:t>
            </a:r>
          </a:p>
          <a:p>
            <a:r>
              <a:rPr lang="fr-FR" b="0" dirty="0" err="1"/>
              <a:t>Pré-requis</a:t>
            </a:r>
            <a:r>
              <a:rPr lang="fr-FR" b="0" dirty="0"/>
              <a:t>, points d’attention et déroulé de la phase de tests</a:t>
            </a:r>
          </a:p>
          <a:p>
            <a:r>
              <a:rPr lang="fr-FR" b="0" dirty="0"/>
              <a:t>Présentation générale de DRUIDES et des évolutions (concerne également le MCO)</a:t>
            </a:r>
          </a:p>
          <a:p>
            <a:r>
              <a:rPr lang="fr-FR" b="0" dirty="0"/>
              <a:t>Présentation des fonctionnalités SMR de DRUIDES</a:t>
            </a:r>
          </a:p>
          <a:p>
            <a:r>
              <a:rPr lang="fr-FR" dirty="0"/>
              <a:t>Quelques messages clés</a:t>
            </a:r>
          </a:p>
          <a:p>
            <a:r>
              <a:rPr lang="fr-FR" b="0" dirty="0"/>
              <a:t>Mise en place </a:t>
            </a:r>
            <a:r>
              <a:rPr lang="fr-FR" b="0" dirty="0" err="1"/>
              <a:t>Vid</a:t>
            </a:r>
            <a:r>
              <a:rPr lang="fr-FR" b="0" dirty="0"/>
              <a:t>-chainage (SMR : Ex-OQN)</a:t>
            </a:r>
          </a:p>
          <a:p>
            <a:r>
              <a:rPr lang="fr-FR" b="0" dirty="0"/>
              <a:t>Questions / réponses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8C4309D-8E36-AC44-1DED-D5811D378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</p:spTree>
    <p:extLst>
      <p:ext uri="{BB962C8B-B14F-4D97-AF65-F5344CB8AC3E}">
        <p14:creationId xmlns:p14="http://schemas.microsoft.com/office/powerpoint/2010/main" val="3918228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6E0433AD-1E8B-A3F5-098F-AD1469515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/>
              <a:t>Webinaire ATIH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BDB3B57-617A-8772-B60B-78645ACA0D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74B54B2-5184-3954-70C6-03FCDB2B8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47528" y="1989668"/>
            <a:ext cx="8784976" cy="3518912"/>
          </a:xfrm>
        </p:spPr>
        <p:txBody>
          <a:bodyPr/>
          <a:lstStyle/>
          <a:p>
            <a:r>
              <a:rPr lang="fr-FR" dirty="0"/>
              <a:t>Pour le confort de tous (bande passante et gestion de la parole) : les micros sont coupés</a:t>
            </a:r>
          </a:p>
          <a:p>
            <a:endParaRPr lang="fr-FR" sz="1200" dirty="0"/>
          </a:p>
          <a:p>
            <a:r>
              <a:rPr lang="fr-FR" dirty="0"/>
              <a:t>Traitement des questions par l'équipe de l'ATIH</a:t>
            </a:r>
          </a:p>
          <a:p>
            <a:pPr lvl="3"/>
            <a:r>
              <a:rPr lang="fr-FR" dirty="0"/>
              <a:t>Utiliser le chat, fenêtre à droite de votre écran</a:t>
            </a:r>
          </a:p>
          <a:p>
            <a:pPr lvl="3"/>
            <a:r>
              <a:rPr lang="fr-FR" dirty="0"/>
              <a:t>Soyez concis et précisez au mieux vos questions pour éviter les quiproquos</a:t>
            </a:r>
          </a:p>
          <a:p>
            <a:pPr lvl="3"/>
            <a:r>
              <a:rPr lang="fr-FR" dirty="0"/>
              <a:t>Plusieurs phases de questions au cours du Webinaire</a:t>
            </a:r>
          </a:p>
          <a:p>
            <a:pPr lvl="3"/>
            <a:endParaRPr lang="fr-FR" sz="1200" dirty="0"/>
          </a:p>
          <a:p>
            <a:r>
              <a:rPr lang="fr-FR" dirty="0"/>
              <a:t>Problèmes techniques :</a:t>
            </a:r>
          </a:p>
          <a:p>
            <a:pPr lvl="1"/>
            <a:r>
              <a:rPr lang="fr-FR" dirty="0"/>
              <a:t>Vous pouvez également nous contacter par mail,</a:t>
            </a:r>
          </a:p>
          <a:p>
            <a:pPr lvl="1"/>
            <a:r>
              <a:rPr lang="fr-FR" dirty="0">
                <a:hlinkClick r:id="rId2"/>
              </a:rPr>
              <a:t>secretariat.cim-mf@atih.sante.fr</a:t>
            </a:r>
            <a:r>
              <a:rPr lang="fr-FR" dirty="0"/>
              <a:t> </a:t>
            </a:r>
          </a:p>
        </p:txBody>
      </p:sp>
      <p:sp>
        <p:nvSpPr>
          <p:cNvPr id="8" name="Flèche : droite 7">
            <a:extLst>
              <a:ext uri="{FF2B5EF4-FFF2-40B4-BE49-F238E27FC236}">
                <a16:creationId xmlns:a16="http://schemas.microsoft.com/office/drawing/2014/main" id="{ACEDFF27-439D-B2A8-93B2-D897E8F329A8}"/>
              </a:ext>
            </a:extLst>
          </p:cNvPr>
          <p:cNvSpPr/>
          <p:nvPr/>
        </p:nvSpPr>
        <p:spPr>
          <a:xfrm>
            <a:off x="629693" y="1988840"/>
            <a:ext cx="1138393" cy="420467"/>
          </a:xfrm>
          <a:prstGeom prst="rightArrow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Flèche : droite 8">
            <a:extLst>
              <a:ext uri="{FF2B5EF4-FFF2-40B4-BE49-F238E27FC236}">
                <a16:creationId xmlns:a16="http://schemas.microsoft.com/office/drawing/2014/main" id="{93F38450-85BA-9C4A-902F-B1B55A4D3F93}"/>
              </a:ext>
            </a:extLst>
          </p:cNvPr>
          <p:cNvSpPr/>
          <p:nvPr/>
        </p:nvSpPr>
        <p:spPr>
          <a:xfrm>
            <a:off x="629693" y="2869489"/>
            <a:ext cx="1138393" cy="420467"/>
          </a:xfrm>
          <a:prstGeom prst="rightArrow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lèche : droite 9">
            <a:extLst>
              <a:ext uri="{FF2B5EF4-FFF2-40B4-BE49-F238E27FC236}">
                <a16:creationId xmlns:a16="http://schemas.microsoft.com/office/drawing/2014/main" id="{81937FA4-BE11-7E10-9817-3BF4C4D776BA}"/>
              </a:ext>
            </a:extLst>
          </p:cNvPr>
          <p:cNvSpPr/>
          <p:nvPr/>
        </p:nvSpPr>
        <p:spPr>
          <a:xfrm>
            <a:off x="629693" y="4365104"/>
            <a:ext cx="1138393" cy="420467"/>
          </a:xfrm>
          <a:prstGeom prst="rightArrow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B3542C1-F142-056C-543A-B895407A05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33054" y="1807816"/>
            <a:ext cx="598899" cy="794095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2833110-B39D-9B79-6619-9C7F3311D3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10853" y="3034915"/>
            <a:ext cx="843302" cy="780296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C61EE5D9-DB8A-3FC2-E164-7899BA22EA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78956" y="4476029"/>
            <a:ext cx="707093" cy="685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4456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E56B7B-C199-96A4-E4C2-9DC3FF1B40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7946E04-2803-1453-F9E0-1AF423E0CF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5559" y="647836"/>
            <a:ext cx="8709471" cy="1025794"/>
          </a:xfrm>
        </p:spPr>
        <p:txBody>
          <a:bodyPr/>
          <a:lstStyle/>
          <a:p>
            <a:r>
              <a:rPr lang="fr-FR" dirty="0"/>
              <a:t>Attention aux archives nécessaires pour les TAS HAS, ENC et contrôles externe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34223F9-0124-069D-F297-D3321495D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0CEF99A-78EF-E570-BC01-AE50E35612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3435" y="2467437"/>
            <a:ext cx="10153128" cy="3041858"/>
          </a:xfrm>
        </p:spPr>
        <p:txBody>
          <a:bodyPr anchor="ctr"/>
          <a:lstStyle/>
          <a:p>
            <a:r>
              <a:rPr lang="fr-FR" sz="2800" dirty="0"/>
              <a:t>Il faut conserver la même rigueur de conservation des archives qu’avant la mise en place de DRUIDES :</a:t>
            </a:r>
          </a:p>
          <a:p>
            <a:pPr lvl="3"/>
            <a:r>
              <a:rPr lang="fr-FR" sz="2400" dirty="0"/>
              <a:t>Être particulièrement vigilant pour le M12</a:t>
            </a:r>
          </a:p>
          <a:p>
            <a:pPr lvl="3"/>
            <a:r>
              <a:rPr lang="fr-FR" sz="2400" dirty="0"/>
              <a:t>Conservation sur des supports accessibles à plusieurs utilisateurs</a:t>
            </a:r>
          </a:p>
          <a:p>
            <a:pPr lvl="3"/>
            <a:r>
              <a:rPr lang="fr-FR" sz="2400" dirty="0"/>
              <a:t>Eviter une sauvegarde locale</a:t>
            </a:r>
          </a:p>
          <a:p>
            <a:pPr lvl="3"/>
            <a:r>
              <a:rPr lang="fr-FR" sz="2400" dirty="0"/>
              <a:t>Respecter les règles RSSI et d’archivage de son établissement</a:t>
            </a:r>
          </a:p>
          <a:p>
            <a:pPr lvl="3"/>
            <a:r>
              <a:rPr lang="fr-FR" sz="2400" dirty="0"/>
              <a:t>…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4E41148-4ED8-0DBC-636B-30A542845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1" y="0"/>
            <a:ext cx="9806238" cy="420466"/>
          </a:xfrm>
        </p:spPr>
        <p:txBody>
          <a:bodyPr/>
          <a:lstStyle/>
          <a:p>
            <a:r>
              <a:rPr lang="fr-FR" dirty="0"/>
              <a:t>Rappels sur le fonctionnement actuel de la gestion des archives par DRUIDES</a:t>
            </a:r>
          </a:p>
        </p:txBody>
      </p:sp>
      <p:pic>
        <p:nvPicPr>
          <p:cNvPr id="8" name="Image 7" descr="Une image contenant haut-parleur, mégaphone&#10;&#10;Description générée automatiquement">
            <a:extLst>
              <a:ext uri="{FF2B5EF4-FFF2-40B4-BE49-F238E27FC236}">
                <a16:creationId xmlns:a16="http://schemas.microsoft.com/office/drawing/2014/main" id="{27074AC6-DB5F-D13A-68C0-E504D13971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366" y="547743"/>
            <a:ext cx="1400071" cy="1400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2125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E56B7B-C199-96A4-E4C2-9DC3FF1B40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7946E04-2803-1453-F9E0-1AF423E0CF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7" y="647836"/>
            <a:ext cx="10365654" cy="512897"/>
          </a:xfrm>
        </p:spPr>
        <p:txBody>
          <a:bodyPr/>
          <a:lstStyle/>
          <a:p>
            <a:r>
              <a:rPr lang="fr-FR" dirty="0"/>
              <a:t>Attention aux archive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34223F9-0124-069D-F297-D3321495D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4E41148-4ED8-0DBC-636B-30A542845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1" y="0"/>
            <a:ext cx="10005010" cy="420466"/>
          </a:xfrm>
        </p:spPr>
        <p:txBody>
          <a:bodyPr/>
          <a:lstStyle/>
          <a:p>
            <a:r>
              <a:rPr lang="fr-FR" dirty="0"/>
              <a:t>Rappels sur le fonctionnement actuel de la gestion des archives par DRUIDES</a:t>
            </a: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C4D80B00-8923-C4D9-DBD0-ADDB59EF5FF5}"/>
              </a:ext>
            </a:extLst>
          </p:cNvPr>
          <p:cNvSpPr txBox="1">
            <a:spLocks/>
          </p:cNvSpPr>
          <p:nvPr/>
        </p:nvSpPr>
        <p:spPr bwMode="auto">
          <a:xfrm>
            <a:off x="88849" y="2276872"/>
            <a:ext cx="6940025" cy="446449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446088" indent="-261938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500">
                <a:solidFill>
                  <a:srgbClr val="4E455D"/>
                </a:solidFill>
                <a:latin typeface="+mn-lt"/>
                <a:ea typeface="+mn-ea"/>
                <a:cs typeface="ＭＳ Ｐゴシック" charset="0"/>
              </a:defRPr>
            </a:lvl1pPr>
            <a:lvl2pPr marL="76200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110000"/>
              <a:buBlip>
                <a:blip r:embed="rId3"/>
              </a:buBlip>
              <a:defRPr sz="2200">
                <a:solidFill>
                  <a:srgbClr val="4E455D"/>
                </a:solidFill>
                <a:latin typeface="+mn-lt"/>
                <a:ea typeface="+mn-ea"/>
              </a:defRPr>
            </a:lvl2pPr>
            <a:lvl3pPr marL="114300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>
                <a:solidFill>
                  <a:srgbClr val="4E455D"/>
                </a:solidFill>
                <a:latin typeface="+mn-lt"/>
                <a:ea typeface="+mn-ea"/>
              </a:defRPr>
            </a:lvl3pPr>
            <a:lvl4pPr marL="16192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4pPr>
            <a:lvl5pPr marL="20002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5pPr>
            <a:lvl6pPr marL="24574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6pPr>
            <a:lvl7pPr marL="29146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7pPr>
            <a:lvl8pPr marL="33718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8pPr>
            <a:lvl9pPr marL="38290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9pPr>
          </a:lstStyle>
          <a:p>
            <a:pPr marL="184150" indent="0" algn="ctr">
              <a:buNone/>
            </a:pPr>
            <a:r>
              <a:rPr lang="fr-FR" b="1" kern="0" dirty="0"/>
              <a:t>Méthode à utiliser : </a:t>
            </a:r>
          </a:p>
          <a:p>
            <a:pPr marL="184150" indent="0" algn="ctr">
              <a:buNone/>
            </a:pPr>
            <a:r>
              <a:rPr lang="fr-FR" sz="1400" b="1" kern="0" dirty="0"/>
              <a:t>Accès au répertoire de sauvegarde de DRUIDES</a:t>
            </a:r>
          </a:p>
          <a:p>
            <a:pPr marL="184150" indent="0" algn="ctr">
              <a:buNone/>
            </a:pPr>
            <a:r>
              <a:rPr lang="fr-FR" sz="1400" b="1" kern="0" dirty="0"/>
              <a:t>De l’utilisateur qui a fait l’export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1E438A8E-93AA-C8D1-12A9-23F765879E5A}"/>
              </a:ext>
            </a:extLst>
          </p:cNvPr>
          <p:cNvSpPr txBox="1">
            <a:spLocks/>
          </p:cNvSpPr>
          <p:nvPr/>
        </p:nvSpPr>
        <p:spPr>
          <a:xfrm>
            <a:off x="1470321" y="1112269"/>
            <a:ext cx="10365654" cy="394392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533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9988" indent="0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Tx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91995" indent="-191995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982" indent="-191995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Montserrat Medium" panose="00000600000000000000" pitchFamily="2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9970" indent="-143996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Quelle archive est utilisée par les outils de TAS HAS, ENC et contrôles externes ?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EF8536E-9BD5-C669-AC40-F20792C243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315" y="3501008"/>
            <a:ext cx="6611491" cy="2726773"/>
          </a:xfrm>
          <a:prstGeom prst="rect">
            <a:avLst/>
          </a:prstGeom>
        </p:spPr>
      </p:pic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107EB0A4-9CE8-2082-4026-7C6325457011}"/>
              </a:ext>
            </a:extLst>
          </p:cNvPr>
          <p:cNvSpPr txBox="1">
            <a:spLocks/>
          </p:cNvSpPr>
          <p:nvPr/>
        </p:nvSpPr>
        <p:spPr bwMode="auto">
          <a:xfrm>
            <a:off x="7075052" y="2276872"/>
            <a:ext cx="4762032" cy="4464496"/>
          </a:xfrm>
          <a:prstGeom prst="rect">
            <a:avLst/>
          </a:prstGeom>
          <a:noFill/>
          <a:ln w="2857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446088" indent="-261938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500">
                <a:solidFill>
                  <a:srgbClr val="4E455D"/>
                </a:solidFill>
                <a:latin typeface="+mn-lt"/>
                <a:ea typeface="+mn-ea"/>
                <a:cs typeface="ＭＳ Ｐゴシック" charset="0"/>
              </a:defRPr>
            </a:lvl1pPr>
            <a:lvl2pPr marL="76200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110000"/>
              <a:buBlip>
                <a:blip r:embed="rId3"/>
              </a:buBlip>
              <a:defRPr sz="2200">
                <a:solidFill>
                  <a:srgbClr val="4E455D"/>
                </a:solidFill>
                <a:latin typeface="+mn-lt"/>
                <a:ea typeface="+mn-ea"/>
              </a:defRPr>
            </a:lvl2pPr>
            <a:lvl3pPr marL="114300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>
                <a:solidFill>
                  <a:srgbClr val="4E455D"/>
                </a:solidFill>
                <a:latin typeface="+mn-lt"/>
                <a:ea typeface="+mn-ea"/>
              </a:defRPr>
            </a:lvl3pPr>
            <a:lvl4pPr marL="16192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4pPr>
            <a:lvl5pPr marL="20002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5pPr>
            <a:lvl6pPr marL="24574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6pPr>
            <a:lvl7pPr marL="29146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7pPr>
            <a:lvl8pPr marL="33718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8pPr>
            <a:lvl9pPr marL="38290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1500">
                <a:solidFill>
                  <a:srgbClr val="4E455D"/>
                </a:solidFill>
                <a:latin typeface="+mn-lt"/>
                <a:ea typeface="+mn-ea"/>
              </a:defRPr>
            </a:lvl9pPr>
          </a:lstStyle>
          <a:p>
            <a:pPr marL="184150" indent="0" algn="ctr">
              <a:buNone/>
            </a:pPr>
            <a:endParaRPr lang="fr-FR" sz="100" b="1" kern="0" dirty="0"/>
          </a:p>
          <a:p>
            <a:pPr marL="184150" indent="0" algn="ctr">
              <a:buNone/>
            </a:pPr>
            <a:r>
              <a:rPr lang="fr-FR" b="1" kern="0" dirty="0"/>
              <a:t>Attention :</a:t>
            </a:r>
          </a:p>
          <a:p>
            <a:pPr marL="184150" indent="0">
              <a:buNone/>
            </a:pPr>
            <a:endParaRPr lang="fr-FR" sz="1800" b="1" kern="0" dirty="0"/>
          </a:p>
          <a:p>
            <a:pPr marL="184150" indent="0">
              <a:buNone/>
            </a:pPr>
            <a:endParaRPr lang="fr-FR" sz="1800" b="1" kern="0" dirty="0"/>
          </a:p>
          <a:p>
            <a:pPr marL="184150" indent="0">
              <a:buNone/>
            </a:pPr>
            <a:endParaRPr lang="fr-FR" sz="300" b="1" kern="0" dirty="0"/>
          </a:p>
          <a:p>
            <a:pPr marL="92075" indent="0">
              <a:buNone/>
            </a:pPr>
            <a:endParaRPr lang="fr-FR" sz="1400" b="1" kern="0" dirty="0"/>
          </a:p>
          <a:p>
            <a:pPr marL="92075" indent="0">
              <a:buNone/>
            </a:pPr>
            <a:endParaRPr lang="fr-FR" sz="1400" b="1" kern="0" dirty="0"/>
          </a:p>
          <a:p>
            <a:pPr marL="92075" indent="0">
              <a:buNone/>
            </a:pPr>
            <a:r>
              <a:rPr lang="fr-FR" sz="1400" b="1" kern="0" dirty="0"/>
              <a:t>Les fichiers générés en IN/OUT (ancien format) ne servent pas à cette fonctionnalité :</a:t>
            </a:r>
          </a:p>
          <a:p>
            <a:pPr marL="360363" indent="-268288">
              <a:buNone/>
            </a:pPr>
            <a:r>
              <a:rPr lang="fr-FR" sz="1400" b="1" kern="0" dirty="0"/>
              <a:t>→  </a:t>
            </a:r>
            <a:r>
              <a:rPr lang="fr-FR" sz="1400" kern="0" dirty="0"/>
              <a:t>Ils servent à alimenter des outils au sein de vos SIH fonctionnant avec l’ancienne architecture des archives</a:t>
            </a:r>
          </a:p>
          <a:p>
            <a:pPr marL="92075" indent="0">
              <a:buNone/>
            </a:pPr>
            <a:r>
              <a:rPr lang="fr-FR" sz="1400" b="1" kern="0" dirty="0"/>
              <a:t>Les fichiers générés par la fonction « exporter pour dépôt manuel sur </a:t>
            </a:r>
            <a:r>
              <a:rPr lang="fr-FR" sz="1400" b="1" kern="0" dirty="0" err="1"/>
              <a:t>ePMSI</a:t>
            </a:r>
            <a:r>
              <a:rPr lang="fr-FR" sz="1400" b="1" kern="0" dirty="0"/>
              <a:t> » contiennent seulement une partie des archives</a:t>
            </a:r>
          </a:p>
          <a:p>
            <a:pPr marL="360363" indent="-268288">
              <a:buNone/>
            </a:pPr>
            <a:r>
              <a:rPr lang="fr-FR" sz="1400" b="1" kern="0" dirty="0"/>
              <a:t>→  </a:t>
            </a:r>
            <a:r>
              <a:rPr lang="fr-FR" sz="1400" kern="0" dirty="0"/>
              <a:t>Cela sert à réaliser une transmission vers e-PMSI en passant par le site e-PMSI (sans passer par DRUIDES)</a:t>
            </a:r>
            <a:endParaRPr lang="fr-FR" sz="1400" b="1" kern="0" dirty="0"/>
          </a:p>
        </p:txBody>
      </p:sp>
      <p:pic>
        <p:nvPicPr>
          <p:cNvPr id="15" name="Image 14" descr="Une image contenant Graphique, clipart, créativité, conception&#10;&#10;Description générée automatiquement">
            <a:extLst>
              <a:ext uri="{FF2B5EF4-FFF2-40B4-BE49-F238E27FC236}">
                <a16:creationId xmlns:a16="http://schemas.microsoft.com/office/drawing/2014/main" id="{311B1E00-BBA1-58A5-B507-3539F6C068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1205" y="2524685"/>
            <a:ext cx="616283" cy="616283"/>
          </a:xfrm>
          <a:prstGeom prst="rect">
            <a:avLst/>
          </a:prstGeom>
        </p:spPr>
      </p:pic>
      <p:pic>
        <p:nvPicPr>
          <p:cNvPr id="17" name="Image 16" descr="Une image contenant Panneau de signalisation&#10;&#10;Description générée automatiquement">
            <a:extLst>
              <a:ext uri="{FF2B5EF4-FFF2-40B4-BE49-F238E27FC236}">
                <a16:creationId xmlns:a16="http://schemas.microsoft.com/office/drawing/2014/main" id="{BBE1AE88-3169-5E2C-4DF6-B1EFEECC8D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2305" y="2359962"/>
            <a:ext cx="472542" cy="472542"/>
          </a:xfrm>
          <a:prstGeom prst="rect">
            <a:avLst/>
          </a:prstGeom>
        </p:spPr>
      </p:pic>
      <p:pic>
        <p:nvPicPr>
          <p:cNvPr id="21" name="Image 20" descr="Une image contenant clipart, Graphique, conception&#10;&#10;Description générée automatiquement">
            <a:extLst>
              <a:ext uri="{FF2B5EF4-FFF2-40B4-BE49-F238E27FC236}">
                <a16:creationId xmlns:a16="http://schemas.microsoft.com/office/drawing/2014/main" id="{B132EB7F-D97B-2C63-459B-F325438E37F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57" y="1112269"/>
            <a:ext cx="926942" cy="92694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1BF31DE-E3C2-BF8D-43B5-2A718305D7A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01338" y="2890620"/>
            <a:ext cx="3058761" cy="107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0745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E56B7B-C199-96A4-E4C2-9DC3FF1B40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34223F9-0124-069D-F297-D3321495D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4E41148-4ED8-0DBC-636B-30A542845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1" y="0"/>
            <a:ext cx="10005010" cy="420466"/>
          </a:xfrm>
        </p:spPr>
        <p:txBody>
          <a:bodyPr/>
          <a:lstStyle/>
          <a:p>
            <a:r>
              <a:rPr lang="fr-FR" dirty="0"/>
              <a:t>Rappels sur le fonctionnement actuel de la gestion des archives par DRUIDES</a:t>
            </a:r>
          </a:p>
        </p:txBody>
      </p:sp>
      <p:pic>
        <p:nvPicPr>
          <p:cNvPr id="8" name="Image 7" descr="Une image contenant haut-parleur, mégaphone&#10;&#10;Description générée automatiquement">
            <a:extLst>
              <a:ext uri="{FF2B5EF4-FFF2-40B4-BE49-F238E27FC236}">
                <a16:creationId xmlns:a16="http://schemas.microsoft.com/office/drawing/2014/main" id="{27074AC6-DB5F-D13A-68C0-E504D13971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366" y="547743"/>
            <a:ext cx="1400071" cy="1400071"/>
          </a:xfrm>
          <a:prstGeom prst="rect">
            <a:avLst/>
          </a:prstGeom>
        </p:spPr>
      </p:pic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A5B72A9D-9CF4-4A54-9B30-4E3CAAB0BE93}"/>
              </a:ext>
            </a:extLst>
          </p:cNvPr>
          <p:cNvSpPr txBox="1">
            <a:spLocks/>
          </p:cNvSpPr>
          <p:nvPr/>
        </p:nvSpPr>
        <p:spPr>
          <a:xfrm>
            <a:off x="342274" y="2132856"/>
            <a:ext cx="4529333" cy="3657600"/>
          </a:xfrm>
          <a:prstGeom prst="rect">
            <a:avLst/>
          </a:prstGeom>
        </p:spPr>
        <p:txBody>
          <a:bodyPr anchor="ctr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533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9988" indent="0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Tx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91995" indent="-191995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982" indent="-191995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Montserrat Medium" panose="00000600000000000000" pitchFamily="2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9970" indent="-143996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  <a:p>
            <a:pPr marL="184150"/>
            <a:r>
              <a:rPr lang="fr-FR"/>
              <a:t>Comment vérifier que l’archive présente dans le répertoire de sauvegarde est bien celle qui a été déposée sur e-PMSI?</a:t>
            </a:r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1D22DAA-EE5E-3C4E-21CC-6D71C91D00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1607" y="1411907"/>
            <a:ext cx="7042956" cy="5301208"/>
          </a:xfrm>
          <a:prstGeom prst="rect">
            <a:avLst/>
          </a:prstGeom>
        </p:spPr>
      </p:pic>
      <p:sp>
        <p:nvSpPr>
          <p:cNvPr id="16" name="Titre 1">
            <a:extLst>
              <a:ext uri="{FF2B5EF4-FFF2-40B4-BE49-F238E27FC236}">
                <a16:creationId xmlns:a16="http://schemas.microsoft.com/office/drawing/2014/main" id="{BFCE32FC-745A-E001-B270-0630E8300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5559" y="647836"/>
            <a:ext cx="8709471" cy="512897"/>
          </a:xfrm>
        </p:spPr>
        <p:txBody>
          <a:bodyPr/>
          <a:lstStyle/>
          <a:p>
            <a:r>
              <a:rPr lang="fr-FR" dirty="0"/>
              <a:t>Attention aux archiv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7CF0937-16A5-D4D6-4AC4-809756088F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0448" y="3812123"/>
            <a:ext cx="895712" cy="152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571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128B6-B083-6E2F-15A8-EDDA4DECE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1025794"/>
          </a:xfrm>
        </p:spPr>
        <p:txBody>
          <a:bodyPr/>
          <a:lstStyle/>
          <a:p>
            <a:r>
              <a:rPr lang="fr-FR" dirty="0"/>
              <a:t>Comment trouver la cause d’une erreur et si besoin contacter efficacement le support ?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AF2BA37-0349-1FDD-02D0-0035AA5454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65E60E3-E624-D8A5-5880-7F5AAA7DE2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" y="18781"/>
            <a:ext cx="3339724" cy="420466"/>
          </a:xfrm>
        </p:spPr>
        <p:txBody>
          <a:bodyPr/>
          <a:lstStyle/>
          <a:p>
            <a:r>
              <a:rPr lang="fr-FR" dirty="0"/>
              <a:t>Quelques messages clés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7830600-1A4C-3FDB-CDB7-6389E0D448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5031" y="2564904"/>
            <a:ext cx="7443257" cy="3406061"/>
          </a:xfrm>
        </p:spPr>
        <p:txBody>
          <a:bodyPr/>
          <a:lstStyle/>
          <a:p>
            <a:r>
              <a:rPr lang="fr-FR" sz="2000" dirty="0"/>
              <a:t>3 Fichiers obligatoires :</a:t>
            </a:r>
          </a:p>
          <a:p>
            <a:pPr lvl="3"/>
            <a:r>
              <a:rPr lang="fr-FR" sz="1200" dirty="0"/>
              <a:t>RHS Groupés</a:t>
            </a:r>
          </a:p>
          <a:p>
            <a:pPr lvl="3"/>
            <a:r>
              <a:rPr lang="fr-FR" sz="1200" dirty="0"/>
              <a:t>Autorisation des UM</a:t>
            </a:r>
          </a:p>
          <a:p>
            <a:pPr lvl="3"/>
            <a:r>
              <a:rPr lang="fr-FR" sz="1200" dirty="0"/>
              <a:t>ANO-HOSP (Ex-DG) ou Factures RSF (Ex-OQN)</a:t>
            </a:r>
          </a:p>
          <a:p>
            <a:r>
              <a:rPr lang="fr-FR" sz="2000" dirty="0"/>
              <a:t>Il existe une erreur si l’un de ces fichiers n’est pas sélectionné</a:t>
            </a:r>
          </a:p>
          <a:p>
            <a:endParaRPr lang="fr-FR" sz="2000" dirty="0"/>
          </a:p>
          <a:p>
            <a:r>
              <a:rPr lang="fr-FR" sz="2000" dirty="0"/>
              <a:t>Si la phase de prétraitement rejette tous les RHS ou toutes les autorisations d’UM vous aurez un message « Aucune donnée </a:t>
            </a:r>
            <a:r>
              <a:rPr lang="fr-FR" sz="2000" dirty="0" err="1"/>
              <a:t>transmettable</a:t>
            </a:r>
            <a:r>
              <a:rPr lang="fr-FR" sz="2000" dirty="0"/>
              <a:t> »</a:t>
            </a:r>
          </a:p>
          <a:p>
            <a:pPr lvl="3"/>
            <a:r>
              <a:rPr lang="fr-FR" sz="1200" dirty="0"/>
              <a:t>L’édition des comptes rendus vous indiqueront la nature du problème </a:t>
            </a:r>
          </a:p>
        </p:txBody>
      </p:sp>
      <p:graphicFrame>
        <p:nvGraphicFramePr>
          <p:cNvPr id="9" name="Diagramme 8">
            <a:extLst>
              <a:ext uri="{FF2B5EF4-FFF2-40B4-BE49-F238E27FC236}">
                <a16:creationId xmlns:a16="http://schemas.microsoft.com/office/drawing/2014/main" id="{08AC965B-1DDB-F3FB-2AD7-F8F65254E2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1151949"/>
              </p:ext>
            </p:extLst>
          </p:nvPr>
        </p:nvGraphicFramePr>
        <p:xfrm>
          <a:off x="2032000" y="1340768"/>
          <a:ext cx="8128000" cy="14401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CB9B1EA3-B706-001A-D8B8-6E90E20325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89097" y="4534175"/>
            <a:ext cx="2860729" cy="1184024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3F18AC37-DB0C-3BBF-966A-A5DB9ED002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74436" y="3470725"/>
            <a:ext cx="3690052" cy="701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9849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128B6-B083-6E2F-15A8-EDDA4DECE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1025794"/>
          </a:xfrm>
        </p:spPr>
        <p:txBody>
          <a:bodyPr/>
          <a:lstStyle/>
          <a:p>
            <a:r>
              <a:rPr lang="fr-FR" dirty="0"/>
              <a:t>Comment trouver la cause d’une erreur et si besoin contacter efficacement le support ?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AF2BA37-0349-1FDD-02D0-0035AA5454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DRUIDES - </a:t>
            </a:r>
            <a:r>
              <a:rPr lang="fr-FR" dirty="0" err="1"/>
              <a:t>Wébinaire</a:t>
            </a:r>
            <a:r>
              <a:rPr lang="fr-FR" dirty="0"/>
              <a:t> déploiement SMR - 18/07/24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65E60E3-E624-D8A5-5880-7F5AAA7DE2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" y="18781"/>
            <a:ext cx="3339724" cy="420466"/>
          </a:xfrm>
        </p:spPr>
        <p:txBody>
          <a:bodyPr/>
          <a:lstStyle/>
          <a:p>
            <a:r>
              <a:rPr lang="fr-FR" dirty="0"/>
              <a:t>Quelques messages clés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7830600-1A4C-3FDB-CDB7-6389E0D448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5031" y="2564904"/>
            <a:ext cx="5211009" cy="2864887"/>
          </a:xfrm>
        </p:spPr>
        <p:txBody>
          <a:bodyPr/>
          <a:lstStyle/>
          <a:p>
            <a:r>
              <a:rPr lang="fr-FR" sz="2000" dirty="0"/>
              <a:t>1 - Pendant la phase de contrôle</a:t>
            </a:r>
          </a:p>
          <a:p>
            <a:pPr lvl="1" indent="-191995"/>
            <a:r>
              <a:rPr lang="fr-FR" sz="1200" dirty="0"/>
              <a:t>S’il y a une erreur ou si vous ne savez pas si l’application continue à tourner</a:t>
            </a:r>
          </a:p>
          <a:p>
            <a:endParaRPr lang="fr-FR" sz="2000" dirty="0"/>
          </a:p>
          <a:p>
            <a:r>
              <a:rPr lang="fr-FR" sz="2000" dirty="0"/>
              <a:t>2 - Consultez les Traces</a:t>
            </a:r>
          </a:p>
          <a:p>
            <a:endParaRPr lang="fr-FR" sz="2000" dirty="0"/>
          </a:p>
          <a:p>
            <a:r>
              <a:rPr lang="fr-FR" sz="2000" dirty="0"/>
              <a:t>3 – L’analyse des traces vous permettra :</a:t>
            </a:r>
          </a:p>
          <a:p>
            <a:pPr lvl="3"/>
            <a:r>
              <a:rPr lang="fr-FR" sz="1200" dirty="0"/>
              <a:t>De savoir si l’application fonctionne (de nouvelles lignes s’incrémentent régulièrement)</a:t>
            </a:r>
          </a:p>
          <a:p>
            <a:pPr lvl="3"/>
            <a:r>
              <a:rPr lang="fr-FR" sz="1200" dirty="0"/>
              <a:t>D’identifier une cause d’erreur à partir du message fourni par l’application</a:t>
            </a:r>
          </a:p>
          <a:p>
            <a:pPr lvl="3"/>
            <a:r>
              <a:rPr lang="fr-FR" sz="1200" dirty="0"/>
              <a:t>De transmettre au support les messages d’erreur pour une analyse plus rapide de votre problématique</a:t>
            </a:r>
          </a:p>
        </p:txBody>
      </p:sp>
      <p:graphicFrame>
        <p:nvGraphicFramePr>
          <p:cNvPr id="9" name="Diagramme 8">
            <a:extLst>
              <a:ext uri="{FF2B5EF4-FFF2-40B4-BE49-F238E27FC236}">
                <a16:creationId xmlns:a16="http://schemas.microsoft.com/office/drawing/2014/main" id="{08AC965B-1DDB-F3FB-2AD7-F8F65254E256}"/>
              </a:ext>
            </a:extLst>
          </p:cNvPr>
          <p:cNvGraphicFramePr/>
          <p:nvPr/>
        </p:nvGraphicFramePr>
        <p:xfrm>
          <a:off x="2032000" y="1340768"/>
          <a:ext cx="8128000" cy="14401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4B5F2600-0795-EC9B-76F4-9BE51B29D9C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575"/>
          <a:stretch/>
        </p:blipFill>
        <p:spPr>
          <a:xfrm>
            <a:off x="6456040" y="1946200"/>
            <a:ext cx="4709615" cy="4653136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74D5E0D-A68C-4778-300F-86A32C7D16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27543" y="3425368"/>
            <a:ext cx="314452" cy="314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8842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2FCCDE8B-36F4-9F23-F5BD-36B1462853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3914744"/>
              </p:ext>
            </p:extLst>
          </p:nvPr>
        </p:nvGraphicFramePr>
        <p:xfrm>
          <a:off x="2032000" y="1340768"/>
          <a:ext cx="8128000" cy="14401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177128B6-B083-6E2F-15A8-EDDA4DECE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1025794"/>
          </a:xfrm>
        </p:spPr>
        <p:txBody>
          <a:bodyPr/>
          <a:lstStyle/>
          <a:p>
            <a:r>
              <a:rPr lang="fr-FR" dirty="0"/>
              <a:t>Comment trouver la cause d’une erreur et si besoin contacter efficacement le support ?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AF2BA37-0349-1FDD-02D0-0035AA5454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65E60E3-E624-D8A5-5880-7F5AAA7DE2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" y="18781"/>
            <a:ext cx="3339724" cy="420466"/>
          </a:xfrm>
        </p:spPr>
        <p:txBody>
          <a:bodyPr/>
          <a:lstStyle/>
          <a:p>
            <a:r>
              <a:rPr lang="fr-FR" dirty="0"/>
              <a:t>Quelques messages clés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FF578DF-4B61-FF9C-CD0C-96CE25F875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2303" y="1673630"/>
            <a:ext cx="5995244" cy="4426395"/>
          </a:xfrm>
          <a:prstGeom prst="rect">
            <a:avLst/>
          </a:prstGeom>
        </p:spPr>
      </p:pic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AF8A5153-6C5F-B15E-1898-843508039C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5032" y="2564904"/>
            <a:ext cx="5995244" cy="1149033"/>
          </a:xfrm>
        </p:spPr>
        <p:txBody>
          <a:bodyPr/>
          <a:lstStyle/>
          <a:p>
            <a:r>
              <a:rPr lang="fr-FR" sz="2000" dirty="0"/>
              <a:t>L’analyse des CR (général et détaillés)</a:t>
            </a:r>
            <a:endParaRPr lang="fr-FR" sz="400" dirty="0"/>
          </a:p>
          <a:p>
            <a:pPr lvl="3"/>
            <a:r>
              <a:rPr lang="fr-FR" sz="1200" dirty="0"/>
              <a:t>Vous permettra de comprendre pourquoi certaines lignes sont rejetées par DRUIDES </a:t>
            </a:r>
          </a:p>
          <a:p>
            <a:pPr lvl="4"/>
            <a:r>
              <a:rPr lang="fr-FR" sz="1200" dirty="0"/>
              <a:t>À la phase de pré-Traitement / pré-contrôle</a:t>
            </a:r>
          </a:p>
          <a:p>
            <a:pPr lvl="4"/>
            <a:r>
              <a:rPr lang="fr-FR" sz="1200" dirty="0"/>
              <a:t>A la phase de contrôle</a:t>
            </a:r>
          </a:p>
          <a:p>
            <a:pPr lvl="3"/>
            <a:r>
              <a:rPr lang="fr-FR" sz="1200" dirty="0"/>
              <a:t>Vous permettra de comprendre les erreurs</a:t>
            </a:r>
          </a:p>
        </p:txBody>
      </p:sp>
    </p:spTree>
    <p:extLst>
      <p:ext uri="{BB962C8B-B14F-4D97-AF65-F5344CB8AC3E}">
        <p14:creationId xmlns:p14="http://schemas.microsoft.com/office/powerpoint/2010/main" val="18811508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2FCCDE8B-36F4-9F23-F5BD-36B1462853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1147324"/>
              </p:ext>
            </p:extLst>
          </p:nvPr>
        </p:nvGraphicFramePr>
        <p:xfrm>
          <a:off x="2032000" y="1340768"/>
          <a:ext cx="8128000" cy="14401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177128B6-B083-6E2F-15A8-EDDA4DECE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1025794"/>
          </a:xfrm>
        </p:spPr>
        <p:txBody>
          <a:bodyPr/>
          <a:lstStyle/>
          <a:p>
            <a:r>
              <a:rPr lang="fr-FR" dirty="0"/>
              <a:t>Comment trouver la cause d’une erreur et si besoin contacter efficacement le support ?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AF2BA37-0349-1FDD-02D0-0035AA5454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65E60E3-E624-D8A5-5880-7F5AAA7DE2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" y="18781"/>
            <a:ext cx="3339724" cy="420466"/>
          </a:xfrm>
        </p:spPr>
        <p:txBody>
          <a:bodyPr/>
          <a:lstStyle/>
          <a:p>
            <a:r>
              <a:rPr lang="fr-FR" dirty="0"/>
              <a:t>Quelques messages clés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AF8A5153-6C5F-B15E-1898-843508039C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5032" y="2564904"/>
            <a:ext cx="5995244" cy="779701"/>
          </a:xfrm>
        </p:spPr>
        <p:txBody>
          <a:bodyPr/>
          <a:lstStyle/>
          <a:p>
            <a:r>
              <a:rPr lang="fr-FR" sz="2000" dirty="0"/>
              <a:t>En cas de difficulté pour transmettre </a:t>
            </a:r>
          </a:p>
          <a:p>
            <a:pPr lvl="3"/>
            <a:r>
              <a:rPr lang="fr-FR" sz="1200" dirty="0"/>
              <a:t>Vérifiez le pictogramme de transmission </a:t>
            </a:r>
            <a:r>
              <a:rPr lang="fr-FR" sz="1200" b="1" dirty="0">
                <a:solidFill>
                  <a:srgbClr val="FF0000"/>
                </a:solidFill>
              </a:rPr>
              <a:t>(1)</a:t>
            </a:r>
            <a:endParaRPr lang="fr-FR" sz="100" b="1" dirty="0">
              <a:solidFill>
                <a:srgbClr val="FF0000"/>
              </a:solidFill>
            </a:endParaRPr>
          </a:p>
          <a:p>
            <a:pPr lvl="3"/>
            <a:r>
              <a:rPr lang="fr-FR" sz="1200" dirty="0"/>
              <a:t>Consultez l’état e-PMSI </a:t>
            </a:r>
            <a:r>
              <a:rPr lang="fr-FR" sz="1200" b="1" dirty="0">
                <a:solidFill>
                  <a:srgbClr val="FF0000"/>
                </a:solidFill>
              </a:rPr>
              <a:t>(2)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E7BB31E4-199E-7478-AAFE-63283235E9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7848" y="2906264"/>
            <a:ext cx="7212587" cy="3485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7145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06634A-C0CA-576B-A67B-F826940A6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781" y="1268760"/>
            <a:ext cx="7200000" cy="512961"/>
          </a:xfrm>
        </p:spPr>
        <p:txBody>
          <a:bodyPr/>
          <a:lstStyle/>
          <a:p>
            <a:r>
              <a:rPr lang="fr-FR" dirty="0"/>
              <a:t>Déroulé du webin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43DF9B3-3BD2-2360-7377-D0C167727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7781" y="2084850"/>
            <a:ext cx="7200000" cy="4691028"/>
          </a:xfrm>
        </p:spPr>
        <p:txBody>
          <a:bodyPr/>
          <a:lstStyle/>
          <a:p>
            <a:r>
              <a:rPr lang="fr-FR" b="0" dirty="0"/>
              <a:t>Feuille de route DRUIDES</a:t>
            </a:r>
          </a:p>
          <a:p>
            <a:r>
              <a:rPr lang="fr-FR" b="0" dirty="0" err="1"/>
              <a:t>Pré-requis</a:t>
            </a:r>
            <a:r>
              <a:rPr lang="fr-FR" b="0" dirty="0"/>
              <a:t>, points d’attention et déroulé de la phase de tests</a:t>
            </a:r>
          </a:p>
          <a:p>
            <a:r>
              <a:rPr lang="fr-FR" b="0" dirty="0"/>
              <a:t>Présentation générale de DRUIDES et des évolutions (concerne également le MCO)</a:t>
            </a:r>
          </a:p>
          <a:p>
            <a:r>
              <a:rPr lang="fr-FR" b="0" dirty="0"/>
              <a:t>Présentation des fonctionnalités SMR de DRUIDES</a:t>
            </a:r>
          </a:p>
          <a:p>
            <a:r>
              <a:rPr lang="fr-FR" b="0" dirty="0"/>
              <a:t>Quelques messages clés</a:t>
            </a:r>
          </a:p>
          <a:p>
            <a:r>
              <a:rPr lang="fr-FR" dirty="0"/>
              <a:t>Mise en place </a:t>
            </a:r>
            <a:r>
              <a:rPr lang="fr-FR" dirty="0" err="1"/>
              <a:t>Vid</a:t>
            </a:r>
            <a:r>
              <a:rPr lang="fr-FR" dirty="0"/>
              <a:t>-chainage (SMR : Ex-OQN)</a:t>
            </a:r>
          </a:p>
          <a:p>
            <a:r>
              <a:rPr lang="fr-FR" b="0" dirty="0"/>
              <a:t>Questions / réponses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8C4309D-8E36-AC44-1DED-D5811D378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</p:spTree>
    <p:extLst>
      <p:ext uri="{BB962C8B-B14F-4D97-AF65-F5344CB8AC3E}">
        <p14:creationId xmlns:p14="http://schemas.microsoft.com/office/powerpoint/2010/main" val="33110468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88DF54B-A106-FF1C-628B-EB5B931C3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1025794"/>
          </a:xfrm>
        </p:spPr>
        <p:txBody>
          <a:bodyPr/>
          <a:lstStyle/>
          <a:p>
            <a:r>
              <a:rPr lang="fr-FR" dirty="0"/>
              <a:t>Mise en place d’un fichier </a:t>
            </a:r>
            <a:r>
              <a:rPr lang="fr-FR" dirty="0" err="1"/>
              <a:t>Vid</a:t>
            </a:r>
            <a:r>
              <a:rPr lang="fr-FR" dirty="0"/>
              <a:t>-chainage pour les ES SMR Ex-OQN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870FAD6-49FF-D0CB-1DE2-FD1DDE7A3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02A46D8-F318-BE40-88A1-56799A5647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4600" y="1772816"/>
            <a:ext cx="10083800" cy="1572225"/>
          </a:xfrm>
        </p:spPr>
        <p:txBody>
          <a:bodyPr vert="horz" wrap="square" lIns="48000" tIns="0" rIns="48000" bIns="0" rtlCol="0" anchor="t">
            <a:spAutoFit/>
          </a:bodyPr>
          <a:lstStyle/>
          <a:p>
            <a:pPr algn="just"/>
            <a:r>
              <a:rPr lang="fr-FR" dirty="0"/>
              <a:t>Contexte : Réforme du financement SMR</a:t>
            </a:r>
          </a:p>
          <a:p>
            <a:pPr lvl="3" algn="just"/>
            <a:r>
              <a:rPr lang="fr-FR" dirty="0"/>
              <a:t>Pas de facturation assurance maladie si séjour en cours au moment de l’export et &lt; 90 jours.</a:t>
            </a:r>
          </a:p>
          <a:p>
            <a:pPr lvl="3" algn="just"/>
            <a:r>
              <a:rPr lang="fr-FR" dirty="0"/>
              <a:t>Les RSF-A étaient jusqu’à présent le seul support des informations nécessaires au chainage en Ex-OQN.</a:t>
            </a:r>
          </a:p>
          <a:p>
            <a:pPr algn="just"/>
            <a:r>
              <a:rPr lang="fr-FR" dirty="0"/>
              <a:t>Besoin</a:t>
            </a:r>
          </a:p>
          <a:p>
            <a:pPr lvl="3" algn="just"/>
            <a:r>
              <a:rPr lang="fr-FR" dirty="0"/>
              <a:t>Exhaustivité du chainage pour le M12 2024</a:t>
            </a:r>
          </a:p>
          <a:p>
            <a:pPr lvl="3" algn="just"/>
            <a:r>
              <a:rPr lang="fr-FR" dirty="0"/>
              <a:t>Séparer les données de facturation des données utiles au chainage</a:t>
            </a:r>
          </a:p>
          <a:p>
            <a:r>
              <a:rPr lang="fr-FR" dirty="0"/>
              <a:t>Définition d’un fichier de recueil pour les établissements SMR ex-OQN</a:t>
            </a:r>
          </a:p>
          <a:p>
            <a:pPr marL="143510" lvl="3" indent="-143510"/>
            <a:r>
              <a:rPr lang="fr-FR" dirty="0" err="1"/>
              <a:t>Vid</a:t>
            </a:r>
            <a:r>
              <a:rPr lang="fr-FR" dirty="0"/>
              <a:t>-chainage qui doit pouvoir être le support qui véhicule les informations de chainage pour le PMSI des ES ex-OQN dans les 4 champs SMR, HAD, MCO et Psy</a:t>
            </a:r>
          </a:p>
          <a:p>
            <a:pPr marL="143510" lvl="3" indent="-143510"/>
            <a:r>
              <a:rPr lang="fr-FR" dirty="0"/>
              <a:t>Il peut également véhiculer des informations de gestion administrative pour les séjours qui ne donnent pas lieu à facturation en fonction du champ</a:t>
            </a:r>
          </a:p>
          <a:p>
            <a:pPr marL="143510" lvl="3" indent="-143510"/>
            <a:r>
              <a:rPr lang="fr-FR" dirty="0"/>
              <a:t>Permet de décorréler la gestion des informations de chainage de la facturation (intérêt sur la mise en qualité des données)</a:t>
            </a:r>
          </a:p>
          <a:p>
            <a:pPr marL="143510" lvl="3" indent="-143510"/>
            <a:r>
              <a:rPr lang="fr-FR" dirty="0"/>
              <a:t>Le RSF ne sera plus utilisé pour le chainage 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80B9D02C-15E5-981D-5592-13684682B8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8781"/>
            <a:ext cx="5951983" cy="420466"/>
          </a:xfrm>
        </p:spPr>
        <p:txBody>
          <a:bodyPr/>
          <a:lstStyle/>
          <a:p>
            <a:r>
              <a:rPr lang="fr-FR" dirty="0" err="1">
                <a:cs typeface="Arial"/>
              </a:rPr>
              <a:t>Vid</a:t>
            </a:r>
            <a:r>
              <a:rPr lang="fr-FR" dirty="0">
                <a:cs typeface="Arial"/>
              </a:rPr>
              <a:t>-chainage (Etablissements SMR - Ex-OQN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96698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DE1CB07C-5A36-F453-E8B9-4428959851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37831"/>
            <a:ext cx="5853426" cy="420466"/>
          </a:xfrm>
        </p:spPr>
        <p:txBody>
          <a:bodyPr/>
          <a:lstStyle/>
          <a:p>
            <a:r>
              <a:rPr lang="fr-FR" dirty="0" err="1">
                <a:cs typeface="Arial"/>
              </a:rPr>
              <a:t>Vid</a:t>
            </a:r>
            <a:r>
              <a:rPr lang="fr-FR" dirty="0">
                <a:cs typeface="Arial"/>
              </a:rPr>
              <a:t>-chainage (Etablissements SMR - Ex-OQN)</a:t>
            </a:r>
            <a:endParaRPr lang="fr-FR" dirty="0"/>
          </a:p>
        </p:txBody>
      </p:sp>
      <p:sp>
        <p:nvSpPr>
          <p:cNvPr id="8" name="Espace réservé du texte 1">
            <a:extLst>
              <a:ext uri="{FF2B5EF4-FFF2-40B4-BE49-F238E27FC236}">
                <a16:creationId xmlns:a16="http://schemas.microsoft.com/office/drawing/2014/main" id="{12AD0AF9-1E52-C72E-1039-D5F1D97A1046}"/>
              </a:ext>
            </a:extLst>
          </p:cNvPr>
          <p:cNvSpPr txBox="1">
            <a:spLocks/>
          </p:cNvSpPr>
          <p:nvPr/>
        </p:nvSpPr>
        <p:spPr>
          <a:xfrm>
            <a:off x="445471" y="1375349"/>
            <a:ext cx="4944000" cy="369332"/>
          </a:xfrm>
          <a:prstGeom prst="rect">
            <a:avLst/>
          </a:prstGeom>
        </p:spPr>
        <p:txBody>
          <a:bodyPr vert="horz" wrap="square" lIns="48000" tIns="0" rIns="48000" bIns="0" rtlCol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44000" indent="-144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44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Montserrat Medium" panose="000006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400"/>
              <a:t>En SMR – Ex OQN</a:t>
            </a:r>
          </a:p>
        </p:txBody>
      </p:sp>
      <p:pic>
        <p:nvPicPr>
          <p:cNvPr id="9" name="Image 8" descr="Une image contenant capture d’écran, conception, Rectangle&#10;&#10;Description générée automatiquement">
            <a:extLst>
              <a:ext uri="{FF2B5EF4-FFF2-40B4-BE49-F238E27FC236}">
                <a16:creationId xmlns:a16="http://schemas.microsoft.com/office/drawing/2014/main" id="{030CA9E3-35EC-EA65-D564-2D38F1FE59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471" y="2703928"/>
            <a:ext cx="960000" cy="927392"/>
          </a:xfrm>
          <a:prstGeom prst="rect">
            <a:avLst/>
          </a:prstGeom>
        </p:spPr>
      </p:pic>
      <p:sp>
        <p:nvSpPr>
          <p:cNvPr id="10" name="Flèche : droite 9">
            <a:extLst>
              <a:ext uri="{FF2B5EF4-FFF2-40B4-BE49-F238E27FC236}">
                <a16:creationId xmlns:a16="http://schemas.microsoft.com/office/drawing/2014/main" id="{00AFC3C8-A55D-ED8F-26FF-183089441859}"/>
              </a:ext>
            </a:extLst>
          </p:cNvPr>
          <p:cNvSpPr/>
          <p:nvPr/>
        </p:nvSpPr>
        <p:spPr>
          <a:xfrm rot="19698874">
            <a:off x="1578859" y="2572588"/>
            <a:ext cx="1066800" cy="16328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1" name="Image 10" descr="Une image contenant capture d’écran, conception, Rectangle&#10;&#10;Description générée automatiquement">
            <a:extLst>
              <a:ext uri="{FF2B5EF4-FFF2-40B4-BE49-F238E27FC236}">
                <a16:creationId xmlns:a16="http://schemas.microsoft.com/office/drawing/2014/main" id="{32BA0574-EC93-D323-3B74-C4B34FB71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7773" y="1762651"/>
            <a:ext cx="960000" cy="927392"/>
          </a:xfrm>
          <a:prstGeom prst="rect">
            <a:avLst/>
          </a:prstGeom>
        </p:spPr>
      </p:pic>
      <p:pic>
        <p:nvPicPr>
          <p:cNvPr id="12" name="Image 11" descr="Une image contenant capture d’écran, Graphique, Rectangle, conception&#10;&#10;Description générée automatiquement">
            <a:extLst>
              <a:ext uri="{FF2B5EF4-FFF2-40B4-BE49-F238E27FC236}">
                <a16:creationId xmlns:a16="http://schemas.microsoft.com/office/drawing/2014/main" id="{0EA87F5E-9171-AB4C-FD68-63ED009242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0767" y="4027019"/>
            <a:ext cx="936083" cy="900156"/>
          </a:xfrm>
          <a:prstGeom prst="rect">
            <a:avLst/>
          </a:prstGeom>
        </p:spPr>
      </p:pic>
      <p:sp>
        <p:nvSpPr>
          <p:cNvPr id="13" name="Signe Plus 12">
            <a:extLst>
              <a:ext uri="{FF2B5EF4-FFF2-40B4-BE49-F238E27FC236}">
                <a16:creationId xmlns:a16="http://schemas.microsoft.com/office/drawing/2014/main" id="{94AA88B9-FBC4-7551-7083-D6344359F4C7}"/>
              </a:ext>
            </a:extLst>
          </p:cNvPr>
          <p:cNvSpPr/>
          <p:nvPr/>
        </p:nvSpPr>
        <p:spPr>
          <a:xfrm>
            <a:off x="2964478" y="3160936"/>
            <a:ext cx="620485" cy="598713"/>
          </a:xfrm>
          <a:prstGeom prst="mathPlu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01BAF8F-0208-9EA5-FE5E-3DFBEEB6FAF3}"/>
              </a:ext>
            </a:extLst>
          </p:cNvPr>
          <p:cNvSpPr txBox="1"/>
          <p:nvPr/>
        </p:nvSpPr>
        <p:spPr>
          <a:xfrm>
            <a:off x="582636" y="3572907"/>
            <a:ext cx="827907" cy="287323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48000" tIns="0" rIns="4800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867" b="1">
                <a:cs typeface="Arial"/>
              </a:rPr>
              <a:t>RSF-A</a:t>
            </a:r>
            <a:endParaRPr lang="fr-FR" sz="1867" b="1" err="1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6A0D098B-BFD4-950F-77D6-96A08EC78045}"/>
              </a:ext>
            </a:extLst>
          </p:cNvPr>
          <p:cNvSpPr txBox="1"/>
          <p:nvPr/>
        </p:nvSpPr>
        <p:spPr>
          <a:xfrm>
            <a:off x="2860767" y="2610789"/>
            <a:ext cx="827907" cy="287323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48000" tIns="0" rIns="4800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867" b="1">
                <a:cs typeface="Arial"/>
              </a:rPr>
              <a:t>RSF-A</a:t>
            </a:r>
            <a:endParaRPr lang="fr-FR" sz="1867" b="1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9D44537A-ADB7-0832-9643-D0A730C187B1}"/>
              </a:ext>
            </a:extLst>
          </p:cNvPr>
          <p:cNvSpPr txBox="1"/>
          <p:nvPr/>
        </p:nvSpPr>
        <p:spPr>
          <a:xfrm>
            <a:off x="2580404" y="4865441"/>
            <a:ext cx="1496808" cy="287323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48000" tIns="0" rIns="4800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867" b="1" err="1">
                <a:solidFill>
                  <a:srgbClr val="2B3BB2"/>
                </a:solidFill>
                <a:cs typeface="Arial"/>
              </a:rPr>
              <a:t>Vidchaînage</a:t>
            </a:r>
            <a:endParaRPr lang="fr-FR" sz="2400" err="1">
              <a:solidFill>
                <a:srgbClr val="2B3BB2"/>
              </a:solidFill>
            </a:endParaRPr>
          </a:p>
        </p:txBody>
      </p:sp>
      <p:sp>
        <p:nvSpPr>
          <p:cNvPr id="17" name="Flèche : droite 16">
            <a:extLst>
              <a:ext uri="{FF2B5EF4-FFF2-40B4-BE49-F238E27FC236}">
                <a16:creationId xmlns:a16="http://schemas.microsoft.com/office/drawing/2014/main" id="{26A2DD10-E433-3F1E-BFDC-76FED5CB2378}"/>
              </a:ext>
            </a:extLst>
          </p:cNvPr>
          <p:cNvSpPr/>
          <p:nvPr/>
        </p:nvSpPr>
        <p:spPr>
          <a:xfrm rot="1620217">
            <a:off x="1624328" y="4080523"/>
            <a:ext cx="1066800" cy="16328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F7C557B-5EF7-1F45-D227-97F846C31152}"/>
              </a:ext>
            </a:extLst>
          </p:cNvPr>
          <p:cNvSpPr txBox="1"/>
          <p:nvPr/>
        </p:nvSpPr>
        <p:spPr>
          <a:xfrm>
            <a:off x="1117547" y="5037157"/>
            <a:ext cx="4765816" cy="14358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48000" tIns="0" rIns="4800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80990" indent="-380990">
              <a:buFont typeface="Calibri"/>
              <a:buChar char="-"/>
            </a:pPr>
            <a:endParaRPr lang="fr-FR" sz="1333" b="1" dirty="0">
              <a:solidFill>
                <a:srgbClr val="2B3BB2"/>
              </a:solidFill>
              <a:cs typeface="Arial" panose="020B0604020202020204"/>
            </a:endParaRPr>
          </a:p>
          <a:p>
            <a:pPr marL="380990" indent="-380990">
              <a:buFont typeface="Calibri"/>
              <a:buChar char="-"/>
            </a:pPr>
            <a:r>
              <a:rPr lang="fr-FR" sz="1333" b="1" dirty="0">
                <a:solidFill>
                  <a:srgbClr val="2B3BB2"/>
                </a:solidFill>
                <a:cs typeface="Arial" panose="020B0604020202020204"/>
              </a:rPr>
              <a:t>Contient uniquement les données utiles au chainage et support unique du chainage. </a:t>
            </a:r>
          </a:p>
          <a:p>
            <a:pPr marL="380990" indent="-380990">
              <a:buFont typeface="Calibri"/>
              <a:buChar char="-"/>
            </a:pPr>
            <a:r>
              <a:rPr lang="fr-FR" sz="1333" b="1" dirty="0">
                <a:solidFill>
                  <a:srgbClr val="2B3BB2"/>
                </a:solidFill>
                <a:cs typeface="Arial" panose="020B0604020202020204"/>
              </a:rPr>
              <a:t>Transmission alignée sur celle des RHA, tous les séjours (avec facture ou non) doivent être présents dans ce fichier</a:t>
            </a:r>
          </a:p>
          <a:p>
            <a:endParaRPr lang="fr-FR" sz="1333" b="1" dirty="0">
              <a:solidFill>
                <a:srgbClr val="2B3BB2"/>
              </a:solidFill>
              <a:cs typeface="Arial" panose="020B0604020202020204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3CB7AD2-31A2-D128-38C0-5B4A695809A1}"/>
              </a:ext>
            </a:extLst>
          </p:cNvPr>
          <p:cNvSpPr txBox="1"/>
          <p:nvPr/>
        </p:nvSpPr>
        <p:spPr>
          <a:xfrm>
            <a:off x="3740786" y="1645393"/>
            <a:ext cx="1755303" cy="12307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48000" tIns="0" rIns="4800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80990" indent="-380990">
              <a:buFont typeface="Calibri"/>
              <a:buChar char="-"/>
            </a:pPr>
            <a:endParaRPr lang="fr-FR" sz="1333" b="1">
              <a:solidFill>
                <a:srgbClr val="2B3BB2"/>
              </a:solidFill>
              <a:cs typeface="Arial" panose="020B0604020202020204"/>
            </a:endParaRPr>
          </a:p>
          <a:p>
            <a:pPr marL="380990" indent="-380990">
              <a:buFont typeface="Calibri"/>
              <a:buChar char="-"/>
            </a:pPr>
            <a:r>
              <a:rPr lang="fr-FR" sz="1333" b="1">
                <a:solidFill>
                  <a:srgbClr val="2B3BB2"/>
                </a:solidFill>
                <a:cs typeface="Arial" panose="020B0604020202020204"/>
              </a:rPr>
              <a:t>Factures</a:t>
            </a:r>
          </a:p>
          <a:p>
            <a:pPr marL="380990" indent="-380990">
              <a:buFont typeface="Calibri"/>
              <a:buChar char="-"/>
            </a:pPr>
            <a:r>
              <a:rPr lang="fr-FR" sz="1333" b="1">
                <a:solidFill>
                  <a:srgbClr val="2B3BB2"/>
                </a:solidFill>
                <a:cs typeface="Arial" panose="020B0604020202020204"/>
              </a:rPr>
              <a:t>Les données  produites ne serviront pas au chainag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21A29CA-117C-EF2D-7AD7-5ABFFAFA6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417D092-3A3C-C7DF-395C-2BF5D6D5CA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646" y="836821"/>
            <a:ext cx="9600000" cy="512897"/>
          </a:xfrm>
        </p:spPr>
        <p:txBody>
          <a:bodyPr/>
          <a:lstStyle/>
          <a:p>
            <a:r>
              <a:rPr lang="fr-FR" dirty="0"/>
              <a:t>Nouveau process et calendrier</a:t>
            </a:r>
          </a:p>
        </p:txBody>
      </p:sp>
    </p:spTree>
    <p:extLst>
      <p:ext uri="{BB962C8B-B14F-4D97-AF65-F5344CB8AC3E}">
        <p14:creationId xmlns:p14="http://schemas.microsoft.com/office/powerpoint/2010/main" val="1143566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06634A-C0CA-576B-A67B-F826940A6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781" y="1268760"/>
            <a:ext cx="7200000" cy="512961"/>
          </a:xfrm>
        </p:spPr>
        <p:txBody>
          <a:bodyPr/>
          <a:lstStyle/>
          <a:p>
            <a:r>
              <a:rPr lang="fr-FR" dirty="0"/>
              <a:t>Déroulé du webin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43DF9B3-3BD2-2360-7377-D0C167727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7781" y="2084850"/>
            <a:ext cx="7200000" cy="4691028"/>
          </a:xfrm>
        </p:spPr>
        <p:txBody>
          <a:bodyPr/>
          <a:lstStyle/>
          <a:p>
            <a:r>
              <a:rPr lang="fr-FR" dirty="0"/>
              <a:t>Feuille de route DRUIDES</a:t>
            </a:r>
          </a:p>
          <a:p>
            <a:r>
              <a:rPr lang="fr-FR" dirty="0" err="1"/>
              <a:t>Pré-requis</a:t>
            </a:r>
            <a:r>
              <a:rPr lang="fr-FR" dirty="0"/>
              <a:t>, points d’attention et déroulé de la phase de tests</a:t>
            </a:r>
          </a:p>
          <a:p>
            <a:r>
              <a:rPr lang="fr-FR" dirty="0"/>
              <a:t>Présentation générale de DRUIDES et des évolutions (concerne également le MCO)</a:t>
            </a:r>
          </a:p>
          <a:p>
            <a:r>
              <a:rPr lang="fr-FR" dirty="0"/>
              <a:t>Présentation des fonctionnalités SMR de DRUIDES</a:t>
            </a:r>
          </a:p>
          <a:p>
            <a:r>
              <a:rPr lang="fr-FR" dirty="0"/>
              <a:t>Quelques messages clés</a:t>
            </a:r>
          </a:p>
          <a:p>
            <a:r>
              <a:rPr lang="fr-FR" dirty="0"/>
              <a:t>Mise en place </a:t>
            </a:r>
            <a:r>
              <a:rPr lang="fr-FR" dirty="0" err="1"/>
              <a:t>Vid</a:t>
            </a:r>
            <a:r>
              <a:rPr lang="fr-FR" dirty="0"/>
              <a:t>-chainage (SMR : Ex-OQN)</a:t>
            </a:r>
          </a:p>
          <a:p>
            <a:r>
              <a:rPr lang="fr-FR" dirty="0"/>
              <a:t>Questions / réponses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8C4309D-8E36-AC44-1DED-D5811D378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</p:spTree>
    <p:extLst>
      <p:ext uri="{BB962C8B-B14F-4D97-AF65-F5344CB8AC3E}">
        <p14:creationId xmlns:p14="http://schemas.microsoft.com/office/powerpoint/2010/main" val="630633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DE1CB07C-5A36-F453-E8B9-4428959851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37831"/>
            <a:ext cx="5853426" cy="420466"/>
          </a:xfrm>
        </p:spPr>
        <p:txBody>
          <a:bodyPr/>
          <a:lstStyle/>
          <a:p>
            <a:r>
              <a:rPr lang="fr-FR" dirty="0" err="1">
                <a:cs typeface="Arial"/>
              </a:rPr>
              <a:t>Vid</a:t>
            </a:r>
            <a:r>
              <a:rPr lang="fr-FR" dirty="0">
                <a:cs typeface="Arial"/>
              </a:rPr>
              <a:t>-chainage (Etablissements SMR - Ex-OQN)</a:t>
            </a:r>
            <a:endParaRPr lang="fr-FR" dirty="0"/>
          </a:p>
        </p:txBody>
      </p:sp>
      <p:sp>
        <p:nvSpPr>
          <p:cNvPr id="8" name="Espace réservé du texte 1">
            <a:extLst>
              <a:ext uri="{FF2B5EF4-FFF2-40B4-BE49-F238E27FC236}">
                <a16:creationId xmlns:a16="http://schemas.microsoft.com/office/drawing/2014/main" id="{12AD0AF9-1E52-C72E-1039-D5F1D97A1046}"/>
              </a:ext>
            </a:extLst>
          </p:cNvPr>
          <p:cNvSpPr txBox="1">
            <a:spLocks/>
          </p:cNvSpPr>
          <p:nvPr/>
        </p:nvSpPr>
        <p:spPr>
          <a:xfrm>
            <a:off x="445471" y="1375349"/>
            <a:ext cx="4944000" cy="369332"/>
          </a:xfrm>
          <a:prstGeom prst="rect">
            <a:avLst/>
          </a:prstGeom>
        </p:spPr>
        <p:txBody>
          <a:bodyPr vert="horz" wrap="square" lIns="48000" tIns="0" rIns="48000" bIns="0" rtlCol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44000" indent="-144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44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Montserrat Medium" panose="00000600000000000000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400"/>
              <a:t>En SMR – Ex OQN</a:t>
            </a:r>
          </a:p>
        </p:txBody>
      </p:sp>
      <p:pic>
        <p:nvPicPr>
          <p:cNvPr id="9" name="Image 8" descr="Une image contenant capture d’écran, conception, Rectangle&#10;&#10;Description générée automatiquement">
            <a:extLst>
              <a:ext uri="{FF2B5EF4-FFF2-40B4-BE49-F238E27FC236}">
                <a16:creationId xmlns:a16="http://schemas.microsoft.com/office/drawing/2014/main" id="{030CA9E3-35EC-EA65-D564-2D38F1FE59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471" y="2703928"/>
            <a:ext cx="960000" cy="927392"/>
          </a:xfrm>
          <a:prstGeom prst="rect">
            <a:avLst/>
          </a:prstGeom>
        </p:spPr>
      </p:pic>
      <p:sp>
        <p:nvSpPr>
          <p:cNvPr id="10" name="Flèche : droite 9">
            <a:extLst>
              <a:ext uri="{FF2B5EF4-FFF2-40B4-BE49-F238E27FC236}">
                <a16:creationId xmlns:a16="http://schemas.microsoft.com/office/drawing/2014/main" id="{00AFC3C8-A55D-ED8F-26FF-183089441859}"/>
              </a:ext>
            </a:extLst>
          </p:cNvPr>
          <p:cNvSpPr/>
          <p:nvPr/>
        </p:nvSpPr>
        <p:spPr>
          <a:xfrm rot="19698874">
            <a:off x="1578859" y="2572588"/>
            <a:ext cx="1066800" cy="16328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1" name="Image 10" descr="Une image contenant capture d’écran, conception, Rectangle&#10;&#10;Description générée automatiquement">
            <a:extLst>
              <a:ext uri="{FF2B5EF4-FFF2-40B4-BE49-F238E27FC236}">
                <a16:creationId xmlns:a16="http://schemas.microsoft.com/office/drawing/2014/main" id="{32BA0574-EC93-D323-3B74-C4B34FB71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7773" y="1762651"/>
            <a:ext cx="960000" cy="927392"/>
          </a:xfrm>
          <a:prstGeom prst="rect">
            <a:avLst/>
          </a:prstGeom>
        </p:spPr>
      </p:pic>
      <p:pic>
        <p:nvPicPr>
          <p:cNvPr id="12" name="Image 11" descr="Une image contenant capture d’écran, Graphique, Rectangle, conception&#10;&#10;Description générée automatiquement">
            <a:extLst>
              <a:ext uri="{FF2B5EF4-FFF2-40B4-BE49-F238E27FC236}">
                <a16:creationId xmlns:a16="http://schemas.microsoft.com/office/drawing/2014/main" id="{0EA87F5E-9171-AB4C-FD68-63ED009242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0767" y="4027019"/>
            <a:ext cx="936083" cy="900156"/>
          </a:xfrm>
          <a:prstGeom prst="rect">
            <a:avLst/>
          </a:prstGeom>
        </p:spPr>
      </p:pic>
      <p:sp>
        <p:nvSpPr>
          <p:cNvPr id="13" name="Signe Plus 12">
            <a:extLst>
              <a:ext uri="{FF2B5EF4-FFF2-40B4-BE49-F238E27FC236}">
                <a16:creationId xmlns:a16="http://schemas.microsoft.com/office/drawing/2014/main" id="{94AA88B9-FBC4-7551-7083-D6344359F4C7}"/>
              </a:ext>
            </a:extLst>
          </p:cNvPr>
          <p:cNvSpPr/>
          <p:nvPr/>
        </p:nvSpPr>
        <p:spPr>
          <a:xfrm>
            <a:off x="2964478" y="3160936"/>
            <a:ext cx="620485" cy="598713"/>
          </a:xfrm>
          <a:prstGeom prst="mathPlu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01BAF8F-0208-9EA5-FE5E-3DFBEEB6FAF3}"/>
              </a:ext>
            </a:extLst>
          </p:cNvPr>
          <p:cNvSpPr txBox="1"/>
          <p:nvPr/>
        </p:nvSpPr>
        <p:spPr>
          <a:xfrm>
            <a:off x="582636" y="3572907"/>
            <a:ext cx="827907" cy="287323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48000" tIns="0" rIns="4800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867" b="1">
                <a:cs typeface="Arial"/>
              </a:rPr>
              <a:t>RSF-A</a:t>
            </a:r>
            <a:endParaRPr lang="fr-FR" sz="1867" b="1" err="1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6A0D098B-BFD4-950F-77D6-96A08EC78045}"/>
              </a:ext>
            </a:extLst>
          </p:cNvPr>
          <p:cNvSpPr txBox="1"/>
          <p:nvPr/>
        </p:nvSpPr>
        <p:spPr>
          <a:xfrm>
            <a:off x="2860767" y="2610789"/>
            <a:ext cx="827907" cy="287323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48000" tIns="0" rIns="4800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867" b="1">
                <a:cs typeface="Arial"/>
              </a:rPr>
              <a:t>RSF-A</a:t>
            </a:r>
            <a:endParaRPr lang="fr-FR" sz="1867" b="1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9D44537A-ADB7-0832-9643-D0A730C187B1}"/>
              </a:ext>
            </a:extLst>
          </p:cNvPr>
          <p:cNvSpPr txBox="1"/>
          <p:nvPr/>
        </p:nvSpPr>
        <p:spPr>
          <a:xfrm>
            <a:off x="2580404" y="4865441"/>
            <a:ext cx="1496808" cy="287323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48000" tIns="0" rIns="4800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867" b="1" err="1">
                <a:solidFill>
                  <a:srgbClr val="2B3BB2"/>
                </a:solidFill>
                <a:cs typeface="Arial"/>
              </a:rPr>
              <a:t>Vidchaînage</a:t>
            </a:r>
            <a:endParaRPr lang="fr-FR" sz="2400" err="1">
              <a:solidFill>
                <a:srgbClr val="2B3BB2"/>
              </a:solidFill>
            </a:endParaRPr>
          </a:p>
        </p:txBody>
      </p:sp>
      <p:sp>
        <p:nvSpPr>
          <p:cNvPr id="17" name="Flèche : droite 16">
            <a:extLst>
              <a:ext uri="{FF2B5EF4-FFF2-40B4-BE49-F238E27FC236}">
                <a16:creationId xmlns:a16="http://schemas.microsoft.com/office/drawing/2014/main" id="{26A2DD10-E433-3F1E-BFDC-76FED5CB2378}"/>
              </a:ext>
            </a:extLst>
          </p:cNvPr>
          <p:cNvSpPr/>
          <p:nvPr/>
        </p:nvSpPr>
        <p:spPr>
          <a:xfrm rot="1620217">
            <a:off x="1624328" y="4080523"/>
            <a:ext cx="1066800" cy="16328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F7C557B-5EF7-1F45-D227-97F846C31152}"/>
              </a:ext>
            </a:extLst>
          </p:cNvPr>
          <p:cNvSpPr txBox="1"/>
          <p:nvPr/>
        </p:nvSpPr>
        <p:spPr>
          <a:xfrm>
            <a:off x="1117547" y="5037157"/>
            <a:ext cx="4765816" cy="14358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48000" tIns="0" rIns="4800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80990" indent="-380990">
              <a:buFont typeface="Calibri"/>
              <a:buChar char="-"/>
            </a:pPr>
            <a:endParaRPr lang="fr-FR" sz="1333" b="1" dirty="0">
              <a:solidFill>
                <a:srgbClr val="2B3BB2"/>
              </a:solidFill>
              <a:cs typeface="Arial" panose="020B0604020202020204"/>
            </a:endParaRPr>
          </a:p>
          <a:p>
            <a:pPr marL="380990" indent="-380990">
              <a:buFont typeface="Calibri"/>
              <a:buChar char="-"/>
            </a:pPr>
            <a:r>
              <a:rPr lang="fr-FR" sz="1333" b="1" dirty="0">
                <a:solidFill>
                  <a:srgbClr val="2B3BB2"/>
                </a:solidFill>
                <a:cs typeface="Arial" panose="020B0604020202020204"/>
              </a:rPr>
              <a:t>Contient uniquement les données utiles au chainage et support unique du chainage. </a:t>
            </a:r>
          </a:p>
          <a:p>
            <a:pPr marL="380990" indent="-380990">
              <a:buFont typeface="Calibri"/>
              <a:buChar char="-"/>
            </a:pPr>
            <a:r>
              <a:rPr lang="fr-FR" sz="1333" b="1" dirty="0">
                <a:solidFill>
                  <a:srgbClr val="2B3BB2"/>
                </a:solidFill>
                <a:cs typeface="Arial" panose="020B0604020202020204"/>
              </a:rPr>
              <a:t>Transmission alignée sur celle des RHA, tous les séjours (avec facture ou non) doivent être présents dans ce fichier</a:t>
            </a:r>
          </a:p>
          <a:p>
            <a:endParaRPr lang="fr-FR" sz="1333" b="1" dirty="0">
              <a:solidFill>
                <a:srgbClr val="2B3BB2"/>
              </a:solidFill>
              <a:cs typeface="Arial" panose="020B0604020202020204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3CB7AD2-31A2-D128-38C0-5B4A695809A1}"/>
              </a:ext>
            </a:extLst>
          </p:cNvPr>
          <p:cNvSpPr txBox="1"/>
          <p:nvPr/>
        </p:nvSpPr>
        <p:spPr>
          <a:xfrm>
            <a:off x="3740786" y="1645393"/>
            <a:ext cx="1755303" cy="12307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48000" tIns="0" rIns="4800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80990" indent="-380990">
              <a:buFont typeface="Calibri"/>
              <a:buChar char="-"/>
            </a:pPr>
            <a:endParaRPr lang="fr-FR" sz="1333" b="1">
              <a:solidFill>
                <a:srgbClr val="2B3BB2"/>
              </a:solidFill>
              <a:cs typeface="Arial" panose="020B0604020202020204"/>
            </a:endParaRPr>
          </a:p>
          <a:p>
            <a:pPr marL="380990" indent="-380990">
              <a:buFont typeface="Calibri"/>
              <a:buChar char="-"/>
            </a:pPr>
            <a:r>
              <a:rPr lang="fr-FR" sz="1333" b="1">
                <a:solidFill>
                  <a:srgbClr val="2B3BB2"/>
                </a:solidFill>
                <a:cs typeface="Arial" panose="020B0604020202020204"/>
              </a:rPr>
              <a:t>Factures</a:t>
            </a:r>
          </a:p>
          <a:p>
            <a:pPr marL="380990" indent="-380990">
              <a:buFont typeface="Calibri"/>
              <a:buChar char="-"/>
            </a:pPr>
            <a:r>
              <a:rPr lang="fr-FR" sz="1333" b="1">
                <a:solidFill>
                  <a:srgbClr val="2B3BB2"/>
                </a:solidFill>
                <a:cs typeface="Arial" panose="020B0604020202020204"/>
              </a:rPr>
              <a:t>Les données  produites ne serviront pas au chainag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21A29CA-117C-EF2D-7AD7-5ABFFAFA6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417D092-3A3C-C7DF-395C-2BF5D6D5CA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646" y="836821"/>
            <a:ext cx="9600000" cy="512897"/>
          </a:xfrm>
        </p:spPr>
        <p:txBody>
          <a:bodyPr/>
          <a:lstStyle/>
          <a:p>
            <a:r>
              <a:rPr lang="fr-FR" dirty="0"/>
              <a:t>Nouveau process et calendrier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AA13693-6C4C-6774-B6D2-EC1B44315EBF}"/>
              </a:ext>
            </a:extLst>
          </p:cNvPr>
          <p:cNvSpPr txBox="1">
            <a:spLocks/>
          </p:cNvSpPr>
          <p:nvPr/>
        </p:nvSpPr>
        <p:spPr>
          <a:xfrm>
            <a:off x="6135093" y="2053918"/>
            <a:ext cx="5814022" cy="3919022"/>
          </a:xfrm>
          <a:prstGeom prst="rect">
            <a:avLst/>
          </a:prstGeom>
        </p:spPr>
        <p:txBody>
          <a:bodyPr vert="horz" wrap="square" lIns="48000" tIns="0" rIns="48000" bIns="0" rtlCol="0" anchor="t">
            <a:sp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533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9988" indent="0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Tx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91995" indent="-191995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982" indent="-191995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Montserrat Medium" panose="00000600000000000000" pitchFamily="2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9970" indent="-143996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fr-FR" dirty="0"/>
          </a:p>
          <a:p>
            <a:pPr algn="just"/>
            <a:r>
              <a:rPr lang="fr-FR" dirty="0"/>
              <a:t>Mise en production dans Druides M10 2024</a:t>
            </a:r>
          </a:p>
          <a:p>
            <a:pPr algn="just"/>
            <a:endParaRPr lang="fr-FR" dirty="0"/>
          </a:p>
          <a:p>
            <a:pPr algn="just"/>
            <a:r>
              <a:rPr lang="fr-FR" dirty="0"/>
              <a:t>En conséquence, à partir du M10 2024 :</a:t>
            </a:r>
          </a:p>
          <a:p>
            <a:pPr lvl="3" algn="just"/>
            <a:r>
              <a:rPr lang="fr-FR" dirty="0"/>
              <a:t>L’absence de production d’un </a:t>
            </a:r>
            <a:r>
              <a:rPr lang="fr-FR" dirty="0" err="1"/>
              <a:t>Vidchaînage</a:t>
            </a:r>
            <a:r>
              <a:rPr lang="fr-FR" dirty="0"/>
              <a:t> rendra l’export impossible</a:t>
            </a:r>
          </a:p>
          <a:p>
            <a:pPr lvl="3" algn="just"/>
            <a:r>
              <a:rPr lang="fr-FR" dirty="0"/>
              <a:t>La production d’un </a:t>
            </a:r>
            <a:r>
              <a:rPr lang="fr-FR" dirty="0" err="1"/>
              <a:t>Vidchaînage</a:t>
            </a:r>
            <a:r>
              <a:rPr lang="fr-FR" dirty="0"/>
              <a:t> de mauvaise qualité (données manquantes, données aberrantes…) entraînera la production d’une erreur qui détériorera les scores qualités </a:t>
            </a:r>
          </a:p>
          <a:p>
            <a:pPr algn="just"/>
            <a:endParaRPr lang="fr-FR" dirty="0"/>
          </a:p>
          <a:p>
            <a:pPr algn="just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312660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06634A-C0CA-576B-A67B-F826940A6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781" y="1268760"/>
            <a:ext cx="7200000" cy="512961"/>
          </a:xfrm>
        </p:spPr>
        <p:txBody>
          <a:bodyPr/>
          <a:lstStyle/>
          <a:p>
            <a:r>
              <a:rPr lang="fr-FR" dirty="0"/>
              <a:t>Déroulé du webin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43DF9B3-3BD2-2360-7377-D0C167727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7781" y="2084850"/>
            <a:ext cx="7200000" cy="4691028"/>
          </a:xfrm>
        </p:spPr>
        <p:txBody>
          <a:bodyPr/>
          <a:lstStyle/>
          <a:p>
            <a:r>
              <a:rPr lang="fr-FR" b="0" dirty="0"/>
              <a:t>Feuille de route DRUIDES</a:t>
            </a:r>
          </a:p>
          <a:p>
            <a:r>
              <a:rPr lang="fr-FR" b="0" dirty="0" err="1"/>
              <a:t>Pré-requis</a:t>
            </a:r>
            <a:r>
              <a:rPr lang="fr-FR" b="0" dirty="0"/>
              <a:t>, points d’attention et déroulé de la phase de tests</a:t>
            </a:r>
          </a:p>
          <a:p>
            <a:r>
              <a:rPr lang="fr-FR" b="0" dirty="0"/>
              <a:t>Présentation générale de DRUIDES et des évolutions (concerne également le MCO)</a:t>
            </a:r>
          </a:p>
          <a:p>
            <a:r>
              <a:rPr lang="fr-FR" b="0" dirty="0"/>
              <a:t>Présentation des fonctionnalités SMR de DRUIDES</a:t>
            </a:r>
          </a:p>
          <a:p>
            <a:r>
              <a:rPr lang="fr-FR" b="0" dirty="0"/>
              <a:t>Quelques messages clés</a:t>
            </a:r>
          </a:p>
          <a:p>
            <a:r>
              <a:rPr lang="fr-FR" b="0" dirty="0"/>
              <a:t>Mise en place </a:t>
            </a:r>
            <a:r>
              <a:rPr lang="fr-FR" b="0" dirty="0" err="1"/>
              <a:t>Vid</a:t>
            </a:r>
            <a:r>
              <a:rPr lang="fr-FR" b="0" dirty="0"/>
              <a:t>-chainage (SMR : Ex-OQN)</a:t>
            </a:r>
          </a:p>
          <a:p>
            <a:r>
              <a:rPr lang="fr-FR" dirty="0"/>
              <a:t>Questions / réponses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8C4309D-8E36-AC44-1DED-D5811D378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</p:spTree>
    <p:extLst>
      <p:ext uri="{BB962C8B-B14F-4D97-AF65-F5344CB8AC3E}">
        <p14:creationId xmlns:p14="http://schemas.microsoft.com/office/powerpoint/2010/main" val="868288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223792" y="2813447"/>
            <a:ext cx="6444208" cy="1231107"/>
          </a:xfrm>
        </p:spPr>
        <p:txBody>
          <a:bodyPr anchor="ctr"/>
          <a:lstStyle/>
          <a:p>
            <a:r>
              <a:rPr lang="fr-FR"/>
              <a:t>MERCI DE VOTRE ATTENTION !</a:t>
            </a:r>
          </a:p>
        </p:txBody>
      </p:sp>
    </p:spTree>
    <p:extLst>
      <p:ext uri="{BB962C8B-B14F-4D97-AF65-F5344CB8AC3E}">
        <p14:creationId xmlns:p14="http://schemas.microsoft.com/office/powerpoint/2010/main" val="18939651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06634A-C0CA-576B-A67B-F826940A6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781" y="1268760"/>
            <a:ext cx="7200000" cy="512961"/>
          </a:xfrm>
        </p:spPr>
        <p:txBody>
          <a:bodyPr/>
          <a:lstStyle/>
          <a:p>
            <a:r>
              <a:rPr lang="fr-FR" dirty="0"/>
              <a:t>Déroulé du webin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43DF9B3-3BD2-2360-7377-D0C167727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7781" y="2084850"/>
            <a:ext cx="7200000" cy="4691028"/>
          </a:xfrm>
        </p:spPr>
        <p:txBody>
          <a:bodyPr/>
          <a:lstStyle/>
          <a:p>
            <a:r>
              <a:rPr lang="fr-FR" dirty="0"/>
              <a:t>Feuille de route DRUIDES</a:t>
            </a:r>
          </a:p>
          <a:p>
            <a:r>
              <a:rPr lang="fr-FR" b="0" dirty="0" err="1"/>
              <a:t>Pré-requis</a:t>
            </a:r>
            <a:r>
              <a:rPr lang="fr-FR" b="0" dirty="0"/>
              <a:t>, points d’attention et déroulé de la phase de tests</a:t>
            </a:r>
          </a:p>
          <a:p>
            <a:r>
              <a:rPr lang="fr-FR" b="0" dirty="0"/>
              <a:t>Présentation générale de DRUIDES et des évolutions (concerne également le MCO)</a:t>
            </a:r>
          </a:p>
          <a:p>
            <a:r>
              <a:rPr lang="fr-FR" b="0" dirty="0"/>
              <a:t>Présentation des fonctionnalités SMR de DRUIDES</a:t>
            </a:r>
          </a:p>
          <a:p>
            <a:r>
              <a:rPr lang="fr-FR" b="0" dirty="0"/>
              <a:t>Quelques messages clés</a:t>
            </a:r>
          </a:p>
          <a:p>
            <a:r>
              <a:rPr lang="fr-FR" b="0" dirty="0"/>
              <a:t>Mise en place </a:t>
            </a:r>
            <a:r>
              <a:rPr lang="fr-FR" b="0" dirty="0" err="1"/>
              <a:t>Vid</a:t>
            </a:r>
            <a:r>
              <a:rPr lang="fr-FR" b="0" dirty="0"/>
              <a:t>-chainage (SMR : Ex-OQN)</a:t>
            </a:r>
          </a:p>
          <a:p>
            <a:r>
              <a:rPr lang="fr-FR" b="0" dirty="0"/>
              <a:t>Questions / réponses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8C4309D-8E36-AC44-1DED-D5811D378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</p:spTree>
    <p:extLst>
      <p:ext uri="{BB962C8B-B14F-4D97-AF65-F5344CB8AC3E}">
        <p14:creationId xmlns:p14="http://schemas.microsoft.com/office/powerpoint/2010/main" val="343320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1A3FCA7-6C14-C689-FCD0-D66182FF2C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87D2CA6-11EB-E196-BE41-02D0ABCDE5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1448181" cy="420466"/>
          </a:xfrm>
        </p:spPr>
        <p:txBody>
          <a:bodyPr/>
          <a:lstStyle/>
          <a:p>
            <a:r>
              <a:rPr lang="fr-FR" dirty="0"/>
              <a:t>DRUIDES</a:t>
            </a:r>
          </a:p>
        </p:txBody>
      </p:sp>
      <p:pic>
        <p:nvPicPr>
          <p:cNvPr id="17" name="Image 16" descr="Une image contenant texte, capture d’écran, diagramme, conception&#10;&#10;Description générée automatiquement">
            <a:extLst>
              <a:ext uri="{FF2B5EF4-FFF2-40B4-BE49-F238E27FC236}">
                <a16:creationId xmlns:a16="http://schemas.microsoft.com/office/drawing/2014/main" id="{AAA9F490-3D3C-DF2C-0EEE-A17CC35D2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800" y="1461600"/>
            <a:ext cx="7606656" cy="53568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1DAD6520-BAE6-CAE6-37A1-EB4B86C2B9A1}"/>
              </a:ext>
            </a:extLst>
          </p:cNvPr>
          <p:cNvSpPr/>
          <p:nvPr/>
        </p:nvSpPr>
        <p:spPr bwMode="auto">
          <a:xfrm>
            <a:off x="6017049" y="3716939"/>
            <a:ext cx="1059283" cy="173149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charset="0"/>
              <a:ea typeface="ＭＳ Ｐゴシック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352000-922C-4EF4-B6D2-D56C98ED6CAF}"/>
              </a:ext>
            </a:extLst>
          </p:cNvPr>
          <p:cNvSpPr/>
          <p:nvPr/>
        </p:nvSpPr>
        <p:spPr bwMode="auto">
          <a:xfrm>
            <a:off x="5937246" y="4313383"/>
            <a:ext cx="1741233" cy="53860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charset="0"/>
              <a:ea typeface="ＭＳ Ｐゴシック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FE3D57-CBC6-B28F-0A50-CC752E86A1B4}"/>
              </a:ext>
            </a:extLst>
          </p:cNvPr>
          <p:cNvSpPr/>
          <p:nvPr/>
        </p:nvSpPr>
        <p:spPr bwMode="auto">
          <a:xfrm>
            <a:off x="1524000" y="2564904"/>
            <a:ext cx="3095848" cy="415974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2400">
              <a:latin typeface="Times" charset="0"/>
              <a:ea typeface="ＭＳ Ｐゴシック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E24A811-2C74-4378-A36D-9C0F84E84E7A}"/>
              </a:ext>
            </a:extLst>
          </p:cNvPr>
          <p:cNvSpPr/>
          <p:nvPr/>
        </p:nvSpPr>
        <p:spPr bwMode="auto">
          <a:xfrm>
            <a:off x="4435622" y="4498110"/>
            <a:ext cx="4477471" cy="23457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2400">
              <a:latin typeface="Times" charset="0"/>
              <a:ea typeface="ＭＳ Ｐゴシック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57F7EE-A964-C689-5412-CA307DCC6CCB}"/>
              </a:ext>
            </a:extLst>
          </p:cNvPr>
          <p:cNvSpPr/>
          <p:nvPr/>
        </p:nvSpPr>
        <p:spPr bwMode="auto">
          <a:xfrm>
            <a:off x="6604589" y="3605378"/>
            <a:ext cx="3095848" cy="189066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2400">
              <a:latin typeface="Times" charset="0"/>
              <a:ea typeface="ＭＳ Ｐゴシック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4C07657-106C-EBAF-13B7-DF105FC33160}"/>
              </a:ext>
            </a:extLst>
          </p:cNvPr>
          <p:cNvSpPr/>
          <p:nvPr/>
        </p:nvSpPr>
        <p:spPr bwMode="auto">
          <a:xfrm>
            <a:off x="7531467" y="3252626"/>
            <a:ext cx="2836315" cy="224341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2400">
              <a:latin typeface="Times" charset="0"/>
              <a:ea typeface="ＭＳ Ｐゴシック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4F9EB89-0917-EF50-9234-2B70A443A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1025794"/>
          </a:xfrm>
        </p:spPr>
        <p:txBody>
          <a:bodyPr/>
          <a:lstStyle/>
          <a:p>
            <a:r>
              <a:rPr lang="fr-FR" dirty="0"/>
              <a:t>Feuille de route 2024 – 2025</a:t>
            </a:r>
            <a:br>
              <a:rPr lang="fr-FR" dirty="0"/>
            </a:br>
            <a:r>
              <a:rPr lang="fr-FR" dirty="0">
                <a:solidFill>
                  <a:schemeClr val="accent3"/>
                </a:solidFill>
              </a:rPr>
              <a:t>Périmètre actuel</a:t>
            </a:r>
          </a:p>
        </p:txBody>
      </p:sp>
    </p:spTree>
    <p:extLst>
      <p:ext uri="{BB962C8B-B14F-4D97-AF65-F5344CB8AC3E}">
        <p14:creationId xmlns:p14="http://schemas.microsoft.com/office/powerpoint/2010/main" val="38871566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C5AF6-3C95-ACFE-91BD-B456F3485D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6C9810D-EAD0-FF2C-A057-7D48C1132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8A3DFCC-FE61-991F-2A91-94FD1DF128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1448181" cy="420466"/>
          </a:xfrm>
        </p:spPr>
        <p:txBody>
          <a:bodyPr/>
          <a:lstStyle/>
          <a:p>
            <a:r>
              <a:rPr lang="fr-FR" dirty="0"/>
              <a:t>DRUIDES</a:t>
            </a:r>
          </a:p>
        </p:txBody>
      </p:sp>
      <p:pic>
        <p:nvPicPr>
          <p:cNvPr id="17" name="Image 16" descr="Une image contenant texte, capture d’écran, diagramme, conception&#10;&#10;Description générée automatiquement">
            <a:extLst>
              <a:ext uri="{FF2B5EF4-FFF2-40B4-BE49-F238E27FC236}">
                <a16:creationId xmlns:a16="http://schemas.microsoft.com/office/drawing/2014/main" id="{1BFBE4D8-CBAA-C1FC-A47B-3B0ECFB507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800" y="1461600"/>
            <a:ext cx="7606656" cy="53568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3E49052D-548D-9FED-0E60-2A35794D9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5031" y="647836"/>
            <a:ext cx="9600000" cy="1025794"/>
          </a:xfrm>
        </p:spPr>
        <p:txBody>
          <a:bodyPr/>
          <a:lstStyle/>
          <a:p>
            <a:r>
              <a:rPr lang="fr-FR" dirty="0"/>
              <a:t>Feuille de route 2024 – 2025</a:t>
            </a:r>
            <a:br>
              <a:rPr lang="fr-FR" dirty="0"/>
            </a:br>
            <a:r>
              <a:rPr lang="fr-FR" dirty="0">
                <a:solidFill>
                  <a:schemeClr val="accent3"/>
                </a:solidFill>
              </a:rPr>
              <a:t>Cible</a:t>
            </a:r>
          </a:p>
        </p:txBody>
      </p:sp>
    </p:spTree>
    <p:extLst>
      <p:ext uri="{BB962C8B-B14F-4D97-AF65-F5344CB8AC3E}">
        <p14:creationId xmlns:p14="http://schemas.microsoft.com/office/powerpoint/2010/main" val="31544620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0345DA-2E3A-8821-F161-D11B3AF844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D940E9-6A52-04FA-A2BA-4B042BC23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Feuille de route 2024 - 2025 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25CD7E8-67D2-2F13-CB69-D17E645E3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2F29900-22B1-799D-8831-6C91770A72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5031" y="1196752"/>
            <a:ext cx="10083800" cy="2893100"/>
          </a:xfrm>
        </p:spPr>
        <p:txBody>
          <a:bodyPr/>
          <a:lstStyle/>
          <a:p>
            <a:r>
              <a:rPr lang="fr-FR" sz="2000" dirty="0"/>
              <a:t>Objectifs</a:t>
            </a:r>
          </a:p>
          <a:p>
            <a:pPr lvl="3"/>
            <a:r>
              <a:rPr lang="fr-FR" sz="1400" dirty="0"/>
              <a:t>Remplacer tous les outils de transmissions des établissements, de tous les champs d’activité par </a:t>
            </a:r>
            <a:r>
              <a:rPr lang="fr-FR" sz="1400" b="1" dirty="0"/>
              <a:t>1 seul Outil </a:t>
            </a:r>
          </a:p>
          <a:p>
            <a:pPr lvl="3"/>
            <a:r>
              <a:rPr lang="fr-FR" sz="1400" b="1" dirty="0"/>
              <a:t>« Commander à distance »</a:t>
            </a:r>
            <a:r>
              <a:rPr lang="fr-FR" sz="1400" dirty="0"/>
              <a:t> la plateforme e-</a:t>
            </a:r>
            <a:r>
              <a:rPr lang="fr-FR" sz="1400" dirty="0" err="1"/>
              <a:t>pmsi</a:t>
            </a:r>
            <a:r>
              <a:rPr lang="fr-FR" sz="1400" dirty="0"/>
              <a:t> (Génération des tableaux </a:t>
            </a:r>
            <a:r>
              <a:rPr lang="fr-FR" sz="1400" dirty="0" err="1"/>
              <a:t>Ovalide</a:t>
            </a:r>
            <a:r>
              <a:rPr lang="fr-FR" sz="1400" dirty="0"/>
              <a:t> et récupération, Validation) </a:t>
            </a:r>
          </a:p>
          <a:p>
            <a:pPr lvl="3"/>
            <a:r>
              <a:rPr lang="fr-FR" sz="1400" dirty="0"/>
              <a:t>Architecture en modules</a:t>
            </a:r>
          </a:p>
          <a:p>
            <a:pPr lvl="3"/>
            <a:r>
              <a:rPr lang="fr-FR" sz="1400" dirty="0"/>
              <a:t>Amélioration et fonctionnalités nouvelles : </a:t>
            </a:r>
          </a:p>
          <a:p>
            <a:pPr lvl="4"/>
            <a:r>
              <a:rPr lang="fr-FR" sz="1400" dirty="0"/>
              <a:t>Automatisation des Mises à jour </a:t>
            </a:r>
          </a:p>
          <a:p>
            <a:pPr lvl="4"/>
            <a:r>
              <a:rPr lang="fr-FR" sz="1400" dirty="0"/>
              <a:t>Rapports : Synthèse et détail </a:t>
            </a:r>
          </a:p>
          <a:p>
            <a:pPr lvl="4"/>
            <a:r>
              <a:rPr lang="fr-FR" sz="1400" dirty="0"/>
              <a:t>Format : Txt, Csv, XML, </a:t>
            </a:r>
            <a:r>
              <a:rPr lang="fr-FR" sz="1400" dirty="0" err="1"/>
              <a:t>Json</a:t>
            </a:r>
            <a:r>
              <a:rPr lang="fr-FR" sz="1400" dirty="0"/>
              <a:t> </a:t>
            </a:r>
          </a:p>
          <a:p>
            <a:pPr lvl="3"/>
            <a:r>
              <a:rPr lang="fr-FR" sz="1400" dirty="0"/>
              <a:t>Démarche d’amélioration continue</a:t>
            </a:r>
          </a:p>
          <a:p>
            <a:r>
              <a:rPr lang="fr-FR" sz="2000" dirty="0"/>
              <a:t>Calendrier SMR :</a:t>
            </a:r>
          </a:p>
          <a:p>
            <a:pPr lvl="3"/>
            <a:endParaRPr lang="fr-FR" sz="1400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3F774D8-593C-A5F1-18F2-2F9609E41D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1448181" cy="420466"/>
          </a:xfrm>
        </p:spPr>
        <p:txBody>
          <a:bodyPr/>
          <a:lstStyle/>
          <a:p>
            <a:r>
              <a:rPr lang="fr-FR" dirty="0"/>
              <a:t>DRUIDES</a:t>
            </a: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B4B6DBDD-8C26-41A2-40D7-83F540D2DE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610734"/>
              </p:ext>
            </p:extLst>
          </p:nvPr>
        </p:nvGraphicFramePr>
        <p:xfrm>
          <a:off x="119336" y="3957877"/>
          <a:ext cx="11953332" cy="24117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8148">
                  <a:extLst>
                    <a:ext uri="{9D8B030D-6E8A-4147-A177-3AD203B41FA5}">
                      <a16:colId xmlns:a16="http://schemas.microsoft.com/office/drawing/2014/main" val="350707675"/>
                    </a:ext>
                  </a:extLst>
                </a:gridCol>
                <a:gridCol w="1328148">
                  <a:extLst>
                    <a:ext uri="{9D8B030D-6E8A-4147-A177-3AD203B41FA5}">
                      <a16:colId xmlns:a16="http://schemas.microsoft.com/office/drawing/2014/main" val="3735204426"/>
                    </a:ext>
                  </a:extLst>
                </a:gridCol>
                <a:gridCol w="1328148">
                  <a:extLst>
                    <a:ext uri="{9D8B030D-6E8A-4147-A177-3AD203B41FA5}">
                      <a16:colId xmlns:a16="http://schemas.microsoft.com/office/drawing/2014/main" val="3372236094"/>
                    </a:ext>
                  </a:extLst>
                </a:gridCol>
                <a:gridCol w="1328148">
                  <a:extLst>
                    <a:ext uri="{9D8B030D-6E8A-4147-A177-3AD203B41FA5}">
                      <a16:colId xmlns:a16="http://schemas.microsoft.com/office/drawing/2014/main" val="2049827702"/>
                    </a:ext>
                  </a:extLst>
                </a:gridCol>
                <a:gridCol w="1024112">
                  <a:extLst>
                    <a:ext uri="{9D8B030D-6E8A-4147-A177-3AD203B41FA5}">
                      <a16:colId xmlns:a16="http://schemas.microsoft.com/office/drawing/2014/main" val="271816777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215890071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1787125660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3179056715"/>
                    </a:ext>
                  </a:extLst>
                </a:gridCol>
                <a:gridCol w="2376268">
                  <a:extLst>
                    <a:ext uri="{9D8B030D-6E8A-4147-A177-3AD203B41FA5}">
                      <a16:colId xmlns:a16="http://schemas.microsoft.com/office/drawing/2014/main" val="3040507523"/>
                    </a:ext>
                  </a:extLst>
                </a:gridCol>
              </a:tblGrid>
              <a:tr h="252015">
                <a:tc gridSpan="7"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2024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202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2548526"/>
                  </a:ext>
                </a:extLst>
              </a:tr>
              <a:tr h="252015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fr-FR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Juin</a:t>
                      </a:r>
                    </a:p>
                  </a:txBody>
                  <a:tcPr>
                    <a:solidFill>
                      <a:srgbClr val="2B3B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fr-FR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Juillet</a:t>
                      </a:r>
                    </a:p>
                  </a:txBody>
                  <a:tcPr>
                    <a:solidFill>
                      <a:srgbClr val="2B3B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fr-FR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out</a:t>
                      </a:r>
                    </a:p>
                  </a:txBody>
                  <a:tcPr>
                    <a:solidFill>
                      <a:srgbClr val="2B3B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fr-FR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eptembre</a:t>
                      </a:r>
                    </a:p>
                  </a:txBody>
                  <a:tcPr>
                    <a:solidFill>
                      <a:srgbClr val="2B3B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fr-FR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Octobre</a:t>
                      </a:r>
                    </a:p>
                  </a:txBody>
                  <a:tcPr>
                    <a:solidFill>
                      <a:srgbClr val="2B3B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fr-FR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vembre</a:t>
                      </a:r>
                    </a:p>
                  </a:txBody>
                  <a:tcPr>
                    <a:solidFill>
                      <a:srgbClr val="2B3B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fr-FR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écembre</a:t>
                      </a:r>
                    </a:p>
                  </a:txBody>
                  <a:tcPr>
                    <a:solidFill>
                      <a:srgbClr val="2B3B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fr-FR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Janvier</a:t>
                      </a:r>
                    </a:p>
                  </a:txBody>
                  <a:tcPr>
                    <a:solidFill>
                      <a:srgbClr val="2B3B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fr-FR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évrier</a:t>
                      </a:r>
                    </a:p>
                  </a:txBody>
                  <a:tcPr>
                    <a:solidFill>
                      <a:srgbClr val="2B3B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5248483"/>
                  </a:ext>
                </a:extLst>
              </a:tr>
              <a:tr h="1863074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4083099"/>
                  </a:ext>
                </a:extLst>
              </a:tr>
            </a:tbl>
          </a:graphicData>
        </a:graphic>
      </p:graphicFrame>
      <p:sp>
        <p:nvSpPr>
          <p:cNvPr id="10" name="Flèche : double flèche verticale 9">
            <a:extLst>
              <a:ext uri="{FF2B5EF4-FFF2-40B4-BE49-F238E27FC236}">
                <a16:creationId xmlns:a16="http://schemas.microsoft.com/office/drawing/2014/main" id="{37C76F92-C9BD-B563-0D7A-79636691BFC2}"/>
              </a:ext>
            </a:extLst>
          </p:cNvPr>
          <p:cNvSpPr/>
          <p:nvPr/>
        </p:nvSpPr>
        <p:spPr>
          <a:xfrm>
            <a:off x="2266894" y="3789040"/>
            <a:ext cx="288032" cy="2736304"/>
          </a:xfrm>
          <a:prstGeom prst="upDownArrow">
            <a:avLst/>
          </a:prstGeom>
          <a:solidFill>
            <a:srgbClr val="2B3BB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Flèche : droite rayée 10">
            <a:extLst>
              <a:ext uri="{FF2B5EF4-FFF2-40B4-BE49-F238E27FC236}">
                <a16:creationId xmlns:a16="http://schemas.microsoft.com/office/drawing/2014/main" id="{3A9D7442-729C-378D-255E-EC711B4D2248}"/>
              </a:ext>
            </a:extLst>
          </p:cNvPr>
          <p:cNvSpPr/>
          <p:nvPr/>
        </p:nvSpPr>
        <p:spPr bwMode="auto">
          <a:xfrm>
            <a:off x="342227" y="4614107"/>
            <a:ext cx="2009357" cy="560140"/>
          </a:xfrm>
          <a:prstGeom prst="stripedRightArrow">
            <a:avLst>
              <a:gd name="adj1" fmla="val 100000"/>
              <a:gd name="adj2" fmla="val 50000"/>
            </a:avLst>
          </a:prstGeom>
          <a:ln>
            <a:solidFill>
              <a:schemeClr val="accent6"/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Phase de </a:t>
            </a:r>
            <a:r>
              <a:rPr kumimoji="0" lang="fr-FR" sz="1200" b="1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dév</a:t>
            </a:r>
            <a:r>
              <a:rPr kumimoji="0" lang="fr-FR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’ de l’outil + </a:t>
            </a:r>
            <a:r>
              <a:rPr kumimoji="0" lang="el-GR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β</a:t>
            </a:r>
            <a:r>
              <a:rPr kumimoji="0" lang="fr-FR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 testeurs (10 établissements)</a:t>
            </a:r>
          </a:p>
        </p:txBody>
      </p:sp>
      <p:sp>
        <p:nvSpPr>
          <p:cNvPr id="12" name="Flèche : chevron 11">
            <a:extLst>
              <a:ext uri="{FF2B5EF4-FFF2-40B4-BE49-F238E27FC236}">
                <a16:creationId xmlns:a16="http://schemas.microsoft.com/office/drawing/2014/main" id="{5BD842D1-EE2F-3E57-B451-444B8B4D7A1D}"/>
              </a:ext>
            </a:extLst>
          </p:cNvPr>
          <p:cNvSpPr/>
          <p:nvPr/>
        </p:nvSpPr>
        <p:spPr bwMode="auto">
          <a:xfrm>
            <a:off x="2182475" y="4601227"/>
            <a:ext cx="2761397" cy="562507"/>
          </a:xfrm>
          <a:prstGeom prst="chevron">
            <a:avLst>
              <a:gd name="adj" fmla="val 49632"/>
            </a:avLst>
          </a:prstGeom>
          <a:solidFill>
            <a:schemeClr val="bg1"/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Phase générale de test (V0)</a:t>
            </a:r>
          </a:p>
        </p:txBody>
      </p:sp>
      <p:sp>
        <p:nvSpPr>
          <p:cNvPr id="13" name="Flèche : chevron 12">
            <a:extLst>
              <a:ext uri="{FF2B5EF4-FFF2-40B4-BE49-F238E27FC236}">
                <a16:creationId xmlns:a16="http://schemas.microsoft.com/office/drawing/2014/main" id="{8086DF16-FD6F-9A0F-9AFE-E50BC2E8CA1F}"/>
              </a:ext>
            </a:extLst>
          </p:cNvPr>
          <p:cNvSpPr/>
          <p:nvPr/>
        </p:nvSpPr>
        <p:spPr bwMode="auto">
          <a:xfrm>
            <a:off x="4759224" y="4601227"/>
            <a:ext cx="5250301" cy="560140"/>
          </a:xfrm>
          <a:prstGeom prst="chevron">
            <a:avLst>
              <a:gd name="adj" fmla="val 49632"/>
            </a:avLst>
          </a:prstGeom>
          <a:solidFill>
            <a:schemeClr val="bg1"/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latin typeface="+mj-lt"/>
                <a:ea typeface="ＭＳ Ｐゴシック" charset="0"/>
              </a:rPr>
              <a:t>       </a:t>
            </a:r>
            <a:r>
              <a:rPr kumimoji="0" lang="fr-FR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Mise en production (V2024)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latin typeface="+mj-lt"/>
                <a:ea typeface="ＭＳ Ｐゴシック" charset="0"/>
              </a:rPr>
              <a:t>          Export M8 SMR* et MCO</a:t>
            </a:r>
            <a:endParaRPr kumimoji="0" lang="fr-FR" sz="12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latin typeface="+mj-lt"/>
                <a:ea typeface="ＭＳ Ｐゴシック" charset="0"/>
              </a:rPr>
              <a:t>                    </a:t>
            </a:r>
            <a:r>
              <a:rPr lang="fr-FR" sz="1200" b="1" dirty="0">
                <a:latin typeface="+mj-lt"/>
                <a:ea typeface="ＭＳ Ｐゴシック" charset="0"/>
              </a:rPr>
              <a:t>9 septembre</a:t>
            </a:r>
            <a:endParaRPr kumimoji="0" lang="fr-FR" sz="1200" b="1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pic>
        <p:nvPicPr>
          <p:cNvPr id="14" name="Image 13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0C90F32A-C717-F820-4ED1-053B1DA145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910" y="5184719"/>
            <a:ext cx="540000" cy="540000"/>
          </a:xfrm>
          <a:prstGeom prst="rect">
            <a:avLst/>
          </a:prstGeom>
          <a:ln>
            <a:noFill/>
          </a:ln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2A191C4B-EF0B-3493-2294-0F851F0818D2}"/>
              </a:ext>
            </a:extLst>
          </p:cNvPr>
          <p:cNvSpPr txBox="1"/>
          <p:nvPr/>
        </p:nvSpPr>
        <p:spPr>
          <a:xfrm>
            <a:off x="1561421" y="5756879"/>
            <a:ext cx="1580326" cy="507831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fr-FR" sz="1100" b="1" dirty="0"/>
              <a:t>18 juillet</a:t>
            </a:r>
          </a:p>
          <a:p>
            <a:pPr algn="ctr"/>
            <a:r>
              <a:rPr lang="fr-FR" sz="1100" dirty="0"/>
              <a:t>1</a:t>
            </a:r>
            <a:r>
              <a:rPr lang="fr-FR" sz="1100" baseline="30000" dirty="0"/>
              <a:t>er</a:t>
            </a:r>
            <a:r>
              <a:rPr lang="fr-FR" sz="1100" dirty="0"/>
              <a:t> </a:t>
            </a:r>
            <a:r>
              <a:rPr lang="fr-FR" sz="1100" b="1" dirty="0"/>
              <a:t>Webinaire </a:t>
            </a:r>
          </a:p>
          <a:p>
            <a:pPr algn="ctr"/>
            <a:r>
              <a:rPr lang="fr-FR" sz="1100" dirty="0"/>
              <a:t>de présentation</a:t>
            </a:r>
          </a:p>
        </p:txBody>
      </p:sp>
      <p:pic>
        <p:nvPicPr>
          <p:cNvPr id="16" name="Image 15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52AF19AF-3F36-C23D-1ECC-0840FAFE78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5577" y="5184719"/>
            <a:ext cx="540000" cy="540000"/>
          </a:xfrm>
          <a:prstGeom prst="rect">
            <a:avLst/>
          </a:prstGeom>
          <a:ln>
            <a:noFill/>
          </a:ln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8841EAF7-AFBA-8EB6-E88E-50CFC715FAF4}"/>
              </a:ext>
            </a:extLst>
          </p:cNvPr>
          <p:cNvSpPr txBox="1"/>
          <p:nvPr/>
        </p:nvSpPr>
        <p:spPr>
          <a:xfrm>
            <a:off x="4024041" y="5756879"/>
            <a:ext cx="1580326" cy="507831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fr-FR" sz="1100" b="1" dirty="0"/>
              <a:t>12 septembre</a:t>
            </a:r>
          </a:p>
          <a:p>
            <a:pPr algn="ctr"/>
            <a:r>
              <a:rPr lang="fr-FR" sz="1100" dirty="0"/>
              <a:t>2</a:t>
            </a:r>
            <a:r>
              <a:rPr lang="fr-FR" sz="1100" baseline="30000" dirty="0"/>
              <a:t>d</a:t>
            </a:r>
            <a:r>
              <a:rPr lang="fr-FR" sz="1100" dirty="0"/>
              <a:t> </a:t>
            </a:r>
            <a:r>
              <a:rPr lang="fr-FR" sz="1100" b="1" dirty="0"/>
              <a:t>Webinaire </a:t>
            </a:r>
          </a:p>
          <a:p>
            <a:pPr algn="ctr"/>
            <a:r>
              <a:rPr lang="fr-FR" sz="1100" dirty="0"/>
              <a:t>de présentation</a:t>
            </a:r>
          </a:p>
        </p:txBody>
      </p:sp>
      <p:sp>
        <p:nvSpPr>
          <p:cNvPr id="18" name="Flèche : chevron 17">
            <a:extLst>
              <a:ext uri="{FF2B5EF4-FFF2-40B4-BE49-F238E27FC236}">
                <a16:creationId xmlns:a16="http://schemas.microsoft.com/office/drawing/2014/main" id="{39FCC0DB-ED68-D7B6-66C8-4E8D657C7B84}"/>
              </a:ext>
            </a:extLst>
          </p:cNvPr>
          <p:cNvSpPr/>
          <p:nvPr/>
        </p:nvSpPr>
        <p:spPr bwMode="auto">
          <a:xfrm>
            <a:off x="9840416" y="4613256"/>
            <a:ext cx="2232248" cy="560140"/>
          </a:xfrm>
          <a:prstGeom prst="chevron">
            <a:avLst>
              <a:gd name="adj" fmla="val 49632"/>
            </a:avLst>
          </a:prstGeom>
          <a:solidFill>
            <a:schemeClr val="bg1"/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latin typeface="+mj-lt"/>
                <a:ea typeface="ＭＳ Ｐゴシック" charset="0"/>
              </a:rPr>
              <a:t>Intégration des </a:t>
            </a:r>
            <a:r>
              <a:rPr lang="fr-FR" sz="1200" dirty="0" err="1">
                <a:latin typeface="+mj-lt"/>
                <a:ea typeface="ＭＳ Ｐゴシック" charset="0"/>
              </a:rPr>
              <a:t>Lamda</a:t>
            </a:r>
            <a:r>
              <a:rPr lang="fr-FR" sz="1200" dirty="0">
                <a:latin typeface="+mj-lt"/>
                <a:ea typeface="ＭＳ Ｐゴシック" charset="0"/>
              </a:rPr>
              <a:t> SMR (Ex-DG)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latin typeface="+mj-lt"/>
                <a:ea typeface="ＭＳ Ｐゴシック" charset="0"/>
              </a:rPr>
              <a:t>(M1 2025)</a:t>
            </a:r>
            <a:endParaRPr kumimoji="0" lang="fr-FR" sz="1200" b="1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43B28BA3-0AD7-39AA-53C7-081E6F05F74E}"/>
              </a:ext>
            </a:extLst>
          </p:cNvPr>
          <p:cNvSpPr txBox="1"/>
          <p:nvPr/>
        </p:nvSpPr>
        <p:spPr>
          <a:xfrm>
            <a:off x="5499139" y="5244441"/>
            <a:ext cx="3616943" cy="338554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lang="fr-FR" sz="1100" dirty="0"/>
              <a:t>* Ex-OQN : remplacement d’</a:t>
            </a:r>
            <a:r>
              <a:rPr lang="fr-FR" sz="1100" dirty="0" err="1"/>
              <a:t>Agraf</a:t>
            </a:r>
            <a:r>
              <a:rPr lang="fr-FR" sz="1100" dirty="0"/>
              <a:t>,</a:t>
            </a:r>
          </a:p>
          <a:p>
            <a:r>
              <a:rPr lang="fr-FR" sz="11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*</a:t>
            </a:r>
            <a:r>
              <a:rPr lang="fr-FR" sz="1100" dirty="0"/>
              <a:t> Ex-DG : remplacement de </a:t>
            </a:r>
            <a:r>
              <a:rPr lang="fr-FR" sz="1100" dirty="0" err="1"/>
              <a:t>GenRHA</a:t>
            </a:r>
            <a:r>
              <a:rPr lang="fr-FR" sz="1100" dirty="0"/>
              <a:t>, </a:t>
            </a:r>
            <a:r>
              <a:rPr lang="fr-FR" sz="1100" dirty="0" err="1"/>
              <a:t>Preface</a:t>
            </a:r>
            <a:r>
              <a:rPr lang="fr-FR" sz="1100" dirty="0"/>
              <a:t> et Visual </a:t>
            </a:r>
          </a:p>
        </p:txBody>
      </p:sp>
    </p:spTree>
    <p:extLst>
      <p:ext uri="{BB962C8B-B14F-4D97-AF65-F5344CB8AC3E}">
        <p14:creationId xmlns:p14="http://schemas.microsoft.com/office/powerpoint/2010/main" val="2151955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0345DA-2E3A-8821-F161-D11B3AF844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D940E9-6A52-04FA-A2BA-4B042BC23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Feuille de route 2024 - 2025 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25CD7E8-67D2-2F13-CB69-D17E645E3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2F29900-22B1-799D-8831-6C91770A72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20977" y="2852936"/>
            <a:ext cx="10083800" cy="1559401"/>
          </a:xfrm>
        </p:spPr>
        <p:txBody>
          <a:bodyPr/>
          <a:lstStyle/>
          <a:p>
            <a:r>
              <a:rPr lang="fr-FR" dirty="0"/>
              <a:t>Calendrier HAD et Psychiatrie :</a:t>
            </a:r>
          </a:p>
          <a:p>
            <a:pPr lvl="3"/>
            <a:r>
              <a:rPr lang="fr-FR" u="sng" dirty="0"/>
              <a:t>Développements :</a:t>
            </a:r>
            <a:r>
              <a:rPr lang="fr-FR" dirty="0"/>
              <a:t> en cours dans les deux champs</a:t>
            </a:r>
          </a:p>
          <a:p>
            <a:pPr lvl="3"/>
            <a:r>
              <a:rPr lang="fr-FR" u="sng" dirty="0"/>
              <a:t>Phase de </a:t>
            </a:r>
            <a:r>
              <a:rPr kumimoji="0" lang="el-GR" sz="1600" i="0" u="sng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β</a:t>
            </a:r>
            <a:r>
              <a:rPr kumimoji="0" lang="fr-FR" sz="1600" i="0" u="sng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-tests :</a:t>
            </a:r>
            <a:r>
              <a:rPr kumimoji="0" lang="fr-FR" sz="160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 troisième trimestre 2024</a:t>
            </a:r>
          </a:p>
          <a:p>
            <a:pPr lvl="3"/>
            <a:r>
              <a:rPr lang="fr-FR" u="sng" dirty="0">
                <a:latin typeface="+mj-lt"/>
                <a:ea typeface="ＭＳ Ｐゴシック" charset="0"/>
              </a:rPr>
              <a:t>Phase générale de tests :</a:t>
            </a:r>
            <a:r>
              <a:rPr lang="fr-FR" dirty="0">
                <a:latin typeface="+mj-lt"/>
                <a:ea typeface="ＭＳ Ｐゴシック" charset="0"/>
              </a:rPr>
              <a:t> fin 2024 début 2025</a:t>
            </a:r>
          </a:p>
          <a:p>
            <a:pPr lvl="3"/>
            <a:r>
              <a:rPr lang="fr-FR" u="sng" dirty="0">
                <a:latin typeface="+mj-lt"/>
                <a:ea typeface="ＭＳ Ｐゴシック" charset="0"/>
              </a:rPr>
              <a:t>Mise en production :</a:t>
            </a:r>
            <a:r>
              <a:rPr lang="fr-FR" dirty="0">
                <a:latin typeface="+mj-lt"/>
                <a:ea typeface="ＭＳ Ｐゴシック" charset="0"/>
              </a:rPr>
              <a:t> l’une des premières périodes de la campagne 2025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3F774D8-593C-A5F1-18F2-2F9609E41D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1448181" cy="420466"/>
          </a:xfrm>
        </p:spPr>
        <p:txBody>
          <a:bodyPr/>
          <a:lstStyle/>
          <a:p>
            <a:r>
              <a:rPr lang="fr-FR" dirty="0"/>
              <a:t>DRUIDES</a:t>
            </a:r>
          </a:p>
        </p:txBody>
      </p:sp>
    </p:spTree>
    <p:extLst>
      <p:ext uri="{BB962C8B-B14F-4D97-AF65-F5344CB8AC3E}">
        <p14:creationId xmlns:p14="http://schemas.microsoft.com/office/powerpoint/2010/main" val="36474198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06634A-C0CA-576B-A67B-F826940A6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7781" y="1268760"/>
            <a:ext cx="7200000" cy="512961"/>
          </a:xfrm>
        </p:spPr>
        <p:txBody>
          <a:bodyPr/>
          <a:lstStyle/>
          <a:p>
            <a:r>
              <a:rPr lang="fr-FR" dirty="0"/>
              <a:t>Déroulé du webin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43DF9B3-3BD2-2360-7377-D0C167727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7781" y="2084850"/>
            <a:ext cx="7200000" cy="4691028"/>
          </a:xfrm>
        </p:spPr>
        <p:txBody>
          <a:bodyPr/>
          <a:lstStyle/>
          <a:p>
            <a:r>
              <a:rPr lang="fr-FR" b="0" dirty="0"/>
              <a:t>Feuille de route DRUIDES</a:t>
            </a:r>
          </a:p>
          <a:p>
            <a:r>
              <a:rPr lang="fr-FR" dirty="0" err="1"/>
              <a:t>Pré-requis</a:t>
            </a:r>
            <a:r>
              <a:rPr lang="fr-FR" dirty="0"/>
              <a:t>, points d’attention et déroulé de la phase de tests</a:t>
            </a:r>
          </a:p>
          <a:p>
            <a:r>
              <a:rPr lang="fr-FR" b="0" dirty="0"/>
              <a:t>Présentation générale de DRUIDES et des évolutions (concerne également le MCO)</a:t>
            </a:r>
          </a:p>
          <a:p>
            <a:r>
              <a:rPr lang="fr-FR" b="0" dirty="0"/>
              <a:t>Présentation des fonctionnalités SMR de DRUIDES</a:t>
            </a:r>
          </a:p>
          <a:p>
            <a:r>
              <a:rPr lang="fr-FR" b="0" dirty="0"/>
              <a:t>Quelques messages clés</a:t>
            </a:r>
          </a:p>
          <a:p>
            <a:r>
              <a:rPr lang="fr-FR" b="0" dirty="0"/>
              <a:t>Mise en place </a:t>
            </a:r>
            <a:r>
              <a:rPr lang="fr-FR" b="0" dirty="0" err="1"/>
              <a:t>Vid</a:t>
            </a:r>
            <a:r>
              <a:rPr lang="fr-FR" b="0" dirty="0"/>
              <a:t>-chainage (SMR : Ex-OQN)</a:t>
            </a:r>
          </a:p>
          <a:p>
            <a:r>
              <a:rPr lang="fr-FR" b="0" dirty="0"/>
              <a:t>Questions / réponses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8C4309D-8E36-AC44-1DED-D5811D378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RUIDES - Wébinaire déploiement SMR - 18/07/24</a:t>
            </a:r>
          </a:p>
        </p:txBody>
      </p:sp>
    </p:spTree>
    <p:extLst>
      <p:ext uri="{BB962C8B-B14F-4D97-AF65-F5344CB8AC3E}">
        <p14:creationId xmlns:p14="http://schemas.microsoft.com/office/powerpoint/2010/main" val="3179096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TIH Rouge">
  <a:themeElements>
    <a:clrScheme name="ATIH_Couleurs">
      <a:dk1>
        <a:sysClr val="windowText" lastClr="000000"/>
      </a:dk1>
      <a:lt1>
        <a:sysClr val="window" lastClr="FFFFFF"/>
      </a:lt1>
      <a:dk2>
        <a:srgbClr val="FF5A64"/>
      </a:dk2>
      <a:lt2>
        <a:srgbClr val="F6F3F0"/>
      </a:lt2>
      <a:accent1>
        <a:srgbClr val="2B3BB2"/>
      </a:accent1>
      <a:accent2>
        <a:srgbClr val="9B9BC8"/>
      </a:accent2>
      <a:accent3>
        <a:srgbClr val="FF9B91"/>
      </a:accent3>
      <a:accent4>
        <a:srgbClr val="FFDCC8"/>
      </a:accent4>
      <a:accent5>
        <a:srgbClr val="AADCBE"/>
      </a:accent5>
      <a:accent6>
        <a:srgbClr val="FFAF00"/>
      </a:accent6>
      <a:hlink>
        <a:srgbClr val="FF5A64"/>
      </a:hlink>
      <a:folHlink>
        <a:srgbClr val="FF5A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TIH Modèle PPT - Copie.potx" id="{4A2B4A11-4439-4868-8621-DE9F15BEB1D8}" vid="{30F208C7-E402-415B-8DB5-ADBEAF98F48E}"/>
    </a:ext>
  </a:extLst>
</a:theme>
</file>

<file path=ppt/theme/theme2.xml><?xml version="1.0" encoding="utf-8"?>
<a:theme xmlns:a="http://schemas.openxmlformats.org/drawingml/2006/main" name="ATIH Bleu clair">
  <a:themeElements>
    <a:clrScheme name="ATIH_Couleurs">
      <a:dk1>
        <a:sysClr val="windowText" lastClr="000000"/>
      </a:dk1>
      <a:lt1>
        <a:sysClr val="window" lastClr="FFFFFF"/>
      </a:lt1>
      <a:dk2>
        <a:srgbClr val="FF5A64"/>
      </a:dk2>
      <a:lt2>
        <a:srgbClr val="F6F3F0"/>
      </a:lt2>
      <a:accent1>
        <a:srgbClr val="2B3BB2"/>
      </a:accent1>
      <a:accent2>
        <a:srgbClr val="9B9BC8"/>
      </a:accent2>
      <a:accent3>
        <a:srgbClr val="FF9B91"/>
      </a:accent3>
      <a:accent4>
        <a:srgbClr val="FFDCC8"/>
      </a:accent4>
      <a:accent5>
        <a:srgbClr val="AADCBE"/>
      </a:accent5>
      <a:accent6>
        <a:srgbClr val="FFAF00"/>
      </a:accent6>
      <a:hlink>
        <a:srgbClr val="FF5A64"/>
      </a:hlink>
      <a:folHlink>
        <a:srgbClr val="FF5A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TIH Modèle PPT - Copie.potx" id="{4A2B4A11-4439-4868-8621-DE9F15BEB1D8}" vid="{94E7551A-22C8-4E49-B699-843F36184C66}"/>
    </a:ext>
  </a:extLst>
</a:theme>
</file>

<file path=ppt/theme/theme3.xml><?xml version="1.0" encoding="utf-8"?>
<a:theme xmlns:a="http://schemas.openxmlformats.org/drawingml/2006/main" name="ATIH Rouge clair">
  <a:themeElements>
    <a:clrScheme name="ATIH_Couleurs">
      <a:dk1>
        <a:sysClr val="windowText" lastClr="000000"/>
      </a:dk1>
      <a:lt1>
        <a:sysClr val="window" lastClr="FFFFFF"/>
      </a:lt1>
      <a:dk2>
        <a:srgbClr val="FF5A64"/>
      </a:dk2>
      <a:lt2>
        <a:srgbClr val="F6F3F0"/>
      </a:lt2>
      <a:accent1>
        <a:srgbClr val="2B3BB2"/>
      </a:accent1>
      <a:accent2>
        <a:srgbClr val="9B9BC8"/>
      </a:accent2>
      <a:accent3>
        <a:srgbClr val="FF9B91"/>
      </a:accent3>
      <a:accent4>
        <a:srgbClr val="FFDCC8"/>
      </a:accent4>
      <a:accent5>
        <a:srgbClr val="AADCBE"/>
      </a:accent5>
      <a:accent6>
        <a:srgbClr val="FFAF00"/>
      </a:accent6>
      <a:hlink>
        <a:srgbClr val="FF5A64"/>
      </a:hlink>
      <a:folHlink>
        <a:srgbClr val="FF5A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TIH Modèle PPT - Copie.potx" id="{4A2B4A11-4439-4868-8621-DE9F15BEB1D8}" vid="{49962B8C-C8B5-4F9B-815A-85A0DB5FCD33}"/>
    </a:ext>
  </a:extLst>
</a:theme>
</file>

<file path=ppt/theme/theme4.xml><?xml version="1.0" encoding="utf-8"?>
<a:theme xmlns:a="http://schemas.openxmlformats.org/drawingml/2006/main" name="ATIH Bleu">
  <a:themeElements>
    <a:clrScheme name="ATIH_Couleurs">
      <a:dk1>
        <a:sysClr val="windowText" lastClr="000000"/>
      </a:dk1>
      <a:lt1>
        <a:sysClr val="window" lastClr="FFFFFF"/>
      </a:lt1>
      <a:dk2>
        <a:srgbClr val="FF5A64"/>
      </a:dk2>
      <a:lt2>
        <a:srgbClr val="F6F3F0"/>
      </a:lt2>
      <a:accent1>
        <a:srgbClr val="2B3BB2"/>
      </a:accent1>
      <a:accent2>
        <a:srgbClr val="9B9BC8"/>
      </a:accent2>
      <a:accent3>
        <a:srgbClr val="FF9B91"/>
      </a:accent3>
      <a:accent4>
        <a:srgbClr val="FFDCC8"/>
      </a:accent4>
      <a:accent5>
        <a:srgbClr val="AADCBE"/>
      </a:accent5>
      <a:accent6>
        <a:srgbClr val="FFAF00"/>
      </a:accent6>
      <a:hlink>
        <a:srgbClr val="FF5A64"/>
      </a:hlink>
      <a:folHlink>
        <a:srgbClr val="FF5A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TIH Modèle PPT - Copie.potx" id="{4A2B4A11-4439-4868-8621-DE9F15BEB1D8}" vid="{032B3E18-6FF9-4E25-8E91-3993A4A78F72}"/>
    </a:ext>
  </a:extLst>
</a:theme>
</file>

<file path=ppt/theme/theme5.xml><?xml version="1.0" encoding="utf-8"?>
<a:theme xmlns:a="http://schemas.openxmlformats.org/drawingml/2006/main" name="1_ATIH Bleu clair">
  <a:themeElements>
    <a:clrScheme name="ATIH_Couleurs">
      <a:dk1>
        <a:sysClr val="windowText" lastClr="000000"/>
      </a:dk1>
      <a:lt1>
        <a:sysClr val="window" lastClr="FFFFFF"/>
      </a:lt1>
      <a:dk2>
        <a:srgbClr val="FF5A64"/>
      </a:dk2>
      <a:lt2>
        <a:srgbClr val="F6F3F0"/>
      </a:lt2>
      <a:accent1>
        <a:srgbClr val="2B3BB2"/>
      </a:accent1>
      <a:accent2>
        <a:srgbClr val="9B9BC8"/>
      </a:accent2>
      <a:accent3>
        <a:srgbClr val="FF9B91"/>
      </a:accent3>
      <a:accent4>
        <a:srgbClr val="FFDCC8"/>
      </a:accent4>
      <a:accent5>
        <a:srgbClr val="AADCBE"/>
      </a:accent5>
      <a:accent6>
        <a:srgbClr val="FFAF00"/>
      </a:accent6>
      <a:hlink>
        <a:srgbClr val="FF5A64"/>
      </a:hlink>
      <a:folHlink>
        <a:srgbClr val="FF5A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6" id="{C03471BA-7F2D-42C8-8BC8-2876B2CBA1DE}" vid="{7E325BB9-9ECE-4001-A93E-FFC0A7EC9F87}"/>
    </a:ext>
  </a:extLst>
</a:theme>
</file>

<file path=ppt/theme/theme6.xml><?xml version="1.0" encoding="utf-8"?>
<a:theme xmlns:a="http://schemas.openxmlformats.org/drawingml/2006/main" name="1_ATIH Rouge">
  <a:themeElements>
    <a:clrScheme name="ATIH_Couleurs">
      <a:dk1>
        <a:sysClr val="windowText" lastClr="000000"/>
      </a:dk1>
      <a:lt1>
        <a:sysClr val="window" lastClr="FFFFFF"/>
      </a:lt1>
      <a:dk2>
        <a:srgbClr val="FF5A64"/>
      </a:dk2>
      <a:lt2>
        <a:srgbClr val="F6F3F0"/>
      </a:lt2>
      <a:accent1>
        <a:srgbClr val="2B3BB2"/>
      </a:accent1>
      <a:accent2>
        <a:srgbClr val="9B9BC8"/>
      </a:accent2>
      <a:accent3>
        <a:srgbClr val="FF9B91"/>
      </a:accent3>
      <a:accent4>
        <a:srgbClr val="FFDCC8"/>
      </a:accent4>
      <a:accent5>
        <a:srgbClr val="AADCBE"/>
      </a:accent5>
      <a:accent6>
        <a:srgbClr val="FFAF00"/>
      </a:accent6>
      <a:hlink>
        <a:srgbClr val="FF5A64"/>
      </a:hlink>
      <a:folHlink>
        <a:srgbClr val="FF5A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TIH Présentation v1d.potx" id="{A13A6FDA-210D-412F-8E17-702B40B7735D}" vid="{6D784D4D-6DD1-4535-A27E-3E2B5FB0547C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3b11d79-d738-475f-b7e9-4b042dcb61d1}" enabled="0" method="" siteId="{53b11d79-d738-475f-b7e9-4b042dcb61d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TIH Modèle EE</Template>
  <TotalTime>14828</TotalTime>
  <Words>2494</Words>
  <Application>Microsoft Office PowerPoint</Application>
  <PresentationFormat>Grand écran</PresentationFormat>
  <Paragraphs>362</Paragraphs>
  <Slides>3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45" baseType="lpstr">
      <vt:lpstr>Arial</vt:lpstr>
      <vt:lpstr>Calibri</vt:lpstr>
      <vt:lpstr>Montserrat Medium</vt:lpstr>
      <vt:lpstr>Symbol</vt:lpstr>
      <vt:lpstr>Times</vt:lpstr>
      <vt:lpstr>Wingdings</vt:lpstr>
      <vt:lpstr>ATIH Rouge</vt:lpstr>
      <vt:lpstr>ATIH Bleu clair</vt:lpstr>
      <vt:lpstr>ATIH Rouge clair</vt:lpstr>
      <vt:lpstr>ATIH Bleu</vt:lpstr>
      <vt:lpstr>1_ATIH Bleu clair</vt:lpstr>
      <vt:lpstr>1_ATIH Rouge</vt:lpstr>
      <vt:lpstr>Diapositive think-cell</vt:lpstr>
      <vt:lpstr>DRUIDES Déploiement dans le champ SMR</vt:lpstr>
      <vt:lpstr>Webinaire ATIH</vt:lpstr>
      <vt:lpstr>Déroulé du webinaire</vt:lpstr>
      <vt:lpstr>Déroulé du webinaire</vt:lpstr>
      <vt:lpstr>Feuille de route 2024 – 2025 Périmètre actuel</vt:lpstr>
      <vt:lpstr>Feuille de route 2024 – 2025 Cible</vt:lpstr>
      <vt:lpstr>Feuille de route 2024 - 2025 </vt:lpstr>
      <vt:lpstr>Feuille de route 2024 - 2025 </vt:lpstr>
      <vt:lpstr>Déroulé du webinaire</vt:lpstr>
      <vt:lpstr>Pré-requis de DRUIDES</vt:lpstr>
      <vt:lpstr>Pré-requis de DRUIDES</vt:lpstr>
      <vt:lpstr>Déroulé de la phase de tests SMR</vt:lpstr>
      <vt:lpstr>Déroulé de la phase de tests SMR</vt:lpstr>
      <vt:lpstr>Déroulé de la phase de tests SMR</vt:lpstr>
      <vt:lpstr>Points d’attention</vt:lpstr>
      <vt:lpstr>Déroulé du webinaire</vt:lpstr>
      <vt:lpstr>Impacts sur l’utilisation de DRUIDES</vt:lpstr>
      <vt:lpstr>Déroulé du webinaire</vt:lpstr>
      <vt:lpstr>Déroulé du webinaire</vt:lpstr>
      <vt:lpstr>Attention aux archives nécessaires pour les TAS HAS, ENC et contrôles externes</vt:lpstr>
      <vt:lpstr>Attention aux archives</vt:lpstr>
      <vt:lpstr>Attention aux archives</vt:lpstr>
      <vt:lpstr>Comment trouver la cause d’une erreur et si besoin contacter efficacement le support ?</vt:lpstr>
      <vt:lpstr>Comment trouver la cause d’une erreur et si besoin contacter efficacement le support ?</vt:lpstr>
      <vt:lpstr>Comment trouver la cause d’une erreur et si besoin contacter efficacement le support ?</vt:lpstr>
      <vt:lpstr>Comment trouver la cause d’une erreur et si besoin contacter efficacement le support ?</vt:lpstr>
      <vt:lpstr>Déroulé du webinaire</vt:lpstr>
      <vt:lpstr>Mise en place d’un fichier Vid-chainage pour les ES SMR Ex-OQN</vt:lpstr>
      <vt:lpstr>Nouveau process et calendrier</vt:lpstr>
      <vt:lpstr>Nouveau process et calendrier</vt:lpstr>
      <vt:lpstr>Déroulé du webinaire</vt:lpstr>
      <vt:lpstr>MERCI DE VOTRE ATTENTION !</vt:lpstr>
    </vt:vector>
  </TitlesOfParts>
  <Company>ATI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GÉNÉRAL  DE LA PRÉSENTATION</dc:title>
  <dc:creator>Eric-Laurent EKONG</dc:creator>
  <cp:lastModifiedBy>Guylène ROBERT</cp:lastModifiedBy>
  <cp:revision>80</cp:revision>
  <cp:lastPrinted>2024-03-18T21:49:45Z</cp:lastPrinted>
  <dcterms:created xsi:type="dcterms:W3CDTF">2024-01-09T13:39:11Z</dcterms:created>
  <dcterms:modified xsi:type="dcterms:W3CDTF">2024-07-17T14:57:42Z</dcterms:modified>
</cp:coreProperties>
</file>